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58" r:id="rId5"/>
  </p:sldMasterIdLst>
  <p:notesMasterIdLst>
    <p:notesMasterId r:id="rId12"/>
  </p:notesMasterIdLst>
  <p:handoutMasterIdLst>
    <p:handoutMasterId r:id="rId13"/>
  </p:handoutMasterIdLst>
  <p:sldIdLst>
    <p:sldId id="263" r:id="rId6"/>
    <p:sldId id="606" r:id="rId7"/>
    <p:sldId id="607" r:id="rId8"/>
    <p:sldId id="612" r:id="rId9"/>
    <p:sldId id="598" r:id="rId10"/>
    <p:sldId id="611" r:id="rId11"/>
  </p:sldIdLst>
  <p:sldSz cx="12192000" cy="6858000"/>
  <p:notesSz cx="9944100" cy="6805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ECB1B3F7-DA77-4E7D-B3E4-703BEABD6608}">
          <p14:sldIdLst>
            <p14:sldId id="263"/>
            <p14:sldId id="606"/>
            <p14:sldId id="607"/>
            <p14:sldId id="612"/>
            <p14:sldId id="598"/>
            <p14:sldId id="611"/>
          </p14:sldIdLst>
        </p14:section>
      </p14:sectionLst>
    </p:ext>
    <p:ext uri="{EFAFB233-063F-42B5-8137-9DF3F51BA10A}">
      <p15:sldGuideLst xmlns:p15="http://schemas.microsoft.com/office/powerpoint/2012/main">
        <p15:guide id="11" pos="2275" userDrawn="1">
          <p15:clr>
            <a:srgbClr val="A4A3A4"/>
          </p15:clr>
        </p15:guide>
        <p15:guide id="12" pos="1459" userDrawn="1">
          <p15:clr>
            <a:srgbClr val="A4A3A4"/>
          </p15:clr>
        </p15:guide>
        <p15:guide id="14" pos="4764" userDrawn="1">
          <p15:clr>
            <a:srgbClr val="A4A3A4"/>
          </p15:clr>
        </p15:guide>
        <p15:guide id="15" orient="horz" pos="436" userDrawn="1">
          <p15:clr>
            <a:srgbClr val="A4A3A4"/>
          </p15:clr>
        </p15:guide>
        <p15:guide id="16" pos="7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B1F6FB"/>
    <a:srgbClr val="1774AD"/>
    <a:srgbClr val="0097A9"/>
    <a:srgbClr val="EB5C37"/>
    <a:srgbClr val="E58EBB"/>
    <a:srgbClr val="5B656E"/>
    <a:srgbClr val="17B0AD"/>
    <a:srgbClr val="7EBD5F"/>
    <a:srgbClr val="BFF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962" autoAdjust="0"/>
    <p:restoredTop sz="86463" autoAdjust="0"/>
  </p:normalViewPr>
  <p:slideViewPr>
    <p:cSldViewPr snapToGrid="0" snapToObjects="1" showGuides="1">
      <p:cViewPr varScale="1">
        <p:scale>
          <a:sx n="99" d="100"/>
          <a:sy n="99" d="100"/>
        </p:scale>
        <p:origin x="184" y="504"/>
      </p:cViewPr>
      <p:guideLst>
        <p:guide pos="2275"/>
        <p:guide pos="1459"/>
        <p:guide pos="4764"/>
        <p:guide orient="horz" pos="436"/>
        <p:guide pos="7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 showGuides="1">
      <p:cViewPr varScale="1">
        <p:scale>
          <a:sx n="107" d="100"/>
          <a:sy n="107" d="100"/>
        </p:scale>
        <p:origin x="2304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87D5CAE-1DC8-4DE1-9CC8-9872436549D6}" type="doc">
      <dgm:prSet loTypeId="urn:microsoft.com/office/officeart/2005/8/layout/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7084BDF9-9010-447C-AABB-ED232AE7C0BC}">
      <dgm:prSet phldrT="[Text]"/>
      <dgm:spPr/>
      <dgm:t>
        <a:bodyPr/>
        <a:lstStyle/>
        <a:p>
          <a:r>
            <a:rPr lang="en-GB" dirty="0"/>
            <a:t>September</a:t>
          </a:r>
        </a:p>
      </dgm:t>
    </dgm:pt>
    <dgm:pt modelId="{B5991EED-D148-4386-B6B0-579DC47143E3}" type="parTrans" cxnId="{BFCCD2EF-B4EC-42E2-BE5C-B1808ADE4177}">
      <dgm:prSet/>
      <dgm:spPr/>
      <dgm:t>
        <a:bodyPr/>
        <a:lstStyle/>
        <a:p>
          <a:endParaRPr lang="en-GB"/>
        </a:p>
      </dgm:t>
    </dgm:pt>
    <dgm:pt modelId="{5C57532C-8C69-4D72-B8B3-1DBA768B81C2}" type="sibTrans" cxnId="{BFCCD2EF-B4EC-42E2-BE5C-B1808ADE4177}">
      <dgm:prSet/>
      <dgm:spPr/>
      <dgm:t>
        <a:bodyPr/>
        <a:lstStyle/>
        <a:p>
          <a:endParaRPr lang="en-GB"/>
        </a:p>
      </dgm:t>
    </dgm:pt>
    <dgm:pt modelId="{708C574E-A456-4180-9882-E8AFFCCA7C20}">
      <dgm:prSet phldrT="[Text]"/>
      <dgm:spPr/>
      <dgm:t>
        <a:bodyPr/>
        <a:lstStyle/>
        <a:p>
          <a:r>
            <a:rPr lang="en-GB" dirty="0"/>
            <a:t>Date &amp; venue confirmed and communicated</a:t>
          </a:r>
        </a:p>
      </dgm:t>
    </dgm:pt>
    <dgm:pt modelId="{C88705E0-0AF4-40DC-8BCC-CB0AFBFAD2F7}" type="parTrans" cxnId="{7D3218B3-9AC1-4BB3-9EB9-DE0639CBB700}">
      <dgm:prSet/>
      <dgm:spPr/>
      <dgm:t>
        <a:bodyPr/>
        <a:lstStyle/>
        <a:p>
          <a:endParaRPr lang="en-GB"/>
        </a:p>
      </dgm:t>
    </dgm:pt>
    <dgm:pt modelId="{BA1288BD-A108-401C-BB81-B3B6748E6C56}" type="sibTrans" cxnId="{7D3218B3-9AC1-4BB3-9EB9-DE0639CBB700}">
      <dgm:prSet/>
      <dgm:spPr/>
      <dgm:t>
        <a:bodyPr/>
        <a:lstStyle/>
        <a:p>
          <a:endParaRPr lang="en-GB"/>
        </a:p>
      </dgm:t>
    </dgm:pt>
    <dgm:pt modelId="{E4B37E7B-CFC4-44FE-9482-DC42C12E712A}">
      <dgm:prSet phldrT="[Text]"/>
      <dgm:spPr/>
      <dgm:t>
        <a:bodyPr/>
        <a:lstStyle/>
        <a:p>
          <a:r>
            <a:rPr lang="en-GB" dirty="0"/>
            <a:t>October</a:t>
          </a:r>
        </a:p>
      </dgm:t>
    </dgm:pt>
    <dgm:pt modelId="{D7056BCC-2509-45FB-AFF9-15CF290E7979}" type="parTrans" cxnId="{2BAD930F-6AF3-4E4D-A82D-EFF21D16B059}">
      <dgm:prSet/>
      <dgm:spPr/>
      <dgm:t>
        <a:bodyPr/>
        <a:lstStyle/>
        <a:p>
          <a:endParaRPr lang="en-GB"/>
        </a:p>
      </dgm:t>
    </dgm:pt>
    <dgm:pt modelId="{753CB627-731C-49E8-AF76-D0FD98D97812}" type="sibTrans" cxnId="{2BAD930F-6AF3-4E4D-A82D-EFF21D16B059}">
      <dgm:prSet/>
      <dgm:spPr/>
      <dgm:t>
        <a:bodyPr/>
        <a:lstStyle/>
        <a:p>
          <a:endParaRPr lang="en-GB"/>
        </a:p>
      </dgm:t>
    </dgm:pt>
    <dgm:pt modelId="{A68032A2-05C0-4958-97D9-E17D75A3A8C7}">
      <dgm:prSet phldrT="[Text]"/>
      <dgm:spPr/>
      <dgm:t>
        <a:bodyPr/>
        <a:lstStyle/>
        <a:p>
          <a:r>
            <a:rPr lang="en-GB" dirty="0"/>
            <a:t>Confirm  invite creative</a:t>
          </a:r>
        </a:p>
      </dgm:t>
    </dgm:pt>
    <dgm:pt modelId="{D0DCD928-8EBD-4976-B8F0-BEE38624901D}" type="parTrans" cxnId="{F497CA8D-0B72-4C20-9994-67EF882C5CC4}">
      <dgm:prSet/>
      <dgm:spPr/>
      <dgm:t>
        <a:bodyPr/>
        <a:lstStyle/>
        <a:p>
          <a:endParaRPr lang="en-GB"/>
        </a:p>
      </dgm:t>
    </dgm:pt>
    <dgm:pt modelId="{C39A76C4-22D8-4A79-BD61-78941106302D}" type="sibTrans" cxnId="{F497CA8D-0B72-4C20-9994-67EF882C5CC4}">
      <dgm:prSet/>
      <dgm:spPr/>
      <dgm:t>
        <a:bodyPr/>
        <a:lstStyle/>
        <a:p>
          <a:endParaRPr lang="en-GB"/>
        </a:p>
      </dgm:t>
    </dgm:pt>
    <dgm:pt modelId="{4FC99990-06C9-4454-9317-2156971A5384}">
      <dgm:prSet phldrT="[Text]"/>
      <dgm:spPr/>
      <dgm:t>
        <a:bodyPr/>
        <a:lstStyle/>
        <a:p>
          <a:r>
            <a:rPr lang="en-GB" dirty="0"/>
            <a:t>November</a:t>
          </a:r>
        </a:p>
      </dgm:t>
    </dgm:pt>
    <dgm:pt modelId="{120C1EB7-8982-46EA-BD84-A68FF0FDA348}" type="parTrans" cxnId="{733A0ED4-620C-4E29-A14A-9A586A9BD449}">
      <dgm:prSet/>
      <dgm:spPr/>
      <dgm:t>
        <a:bodyPr/>
        <a:lstStyle/>
        <a:p>
          <a:endParaRPr lang="en-GB"/>
        </a:p>
      </dgm:t>
    </dgm:pt>
    <dgm:pt modelId="{43AF6E3D-84F8-4DEC-82CC-4A2BDB06A4DB}" type="sibTrans" cxnId="{733A0ED4-620C-4E29-A14A-9A586A9BD449}">
      <dgm:prSet/>
      <dgm:spPr/>
      <dgm:t>
        <a:bodyPr/>
        <a:lstStyle/>
        <a:p>
          <a:endParaRPr lang="en-GB"/>
        </a:p>
      </dgm:t>
    </dgm:pt>
    <dgm:pt modelId="{F00EB4D1-D88E-45C6-99B2-A922625FD8EF}">
      <dgm:prSet phldrT="[Text]"/>
      <dgm:spPr/>
      <dgm:t>
        <a:bodyPr/>
        <a:lstStyle/>
        <a:p>
          <a:r>
            <a:rPr lang="en-GB" dirty="0"/>
            <a:t>Agenda finalised </a:t>
          </a:r>
          <a:r>
            <a:rPr lang="en-GB" dirty="0" err="1"/>
            <a:t>inc</a:t>
          </a:r>
          <a:r>
            <a:rPr lang="en-GB" dirty="0"/>
            <a:t> breakouts</a:t>
          </a:r>
        </a:p>
      </dgm:t>
    </dgm:pt>
    <dgm:pt modelId="{F8AE65C0-068E-4D36-BE03-D6F839AF3D7B}" type="parTrans" cxnId="{02E08174-0E96-49E6-9072-099D90AE58F6}">
      <dgm:prSet/>
      <dgm:spPr/>
      <dgm:t>
        <a:bodyPr/>
        <a:lstStyle/>
        <a:p>
          <a:endParaRPr lang="en-GB"/>
        </a:p>
      </dgm:t>
    </dgm:pt>
    <dgm:pt modelId="{F685C905-2935-4DD8-9023-7DCC7DDCB2B5}" type="sibTrans" cxnId="{02E08174-0E96-49E6-9072-099D90AE58F6}">
      <dgm:prSet/>
      <dgm:spPr/>
      <dgm:t>
        <a:bodyPr/>
        <a:lstStyle/>
        <a:p>
          <a:endParaRPr lang="en-GB"/>
        </a:p>
      </dgm:t>
    </dgm:pt>
    <dgm:pt modelId="{9B4E2650-6855-41E5-AE3B-A837B38979C4}">
      <dgm:prSet/>
      <dgm:spPr/>
      <dgm:t>
        <a:bodyPr/>
        <a:lstStyle/>
        <a:p>
          <a:r>
            <a:rPr lang="en-GB" dirty="0"/>
            <a:t>December</a:t>
          </a:r>
        </a:p>
      </dgm:t>
    </dgm:pt>
    <dgm:pt modelId="{F068F5A4-EA9F-4065-98A5-4A7B70605D6F}" type="parTrans" cxnId="{6716A02E-0E10-4ED0-8FBB-FFFB22FE38A6}">
      <dgm:prSet/>
      <dgm:spPr/>
      <dgm:t>
        <a:bodyPr/>
        <a:lstStyle/>
        <a:p>
          <a:endParaRPr lang="en-GB"/>
        </a:p>
      </dgm:t>
    </dgm:pt>
    <dgm:pt modelId="{15F24463-0A33-4AF1-96D8-37F288953BEE}" type="sibTrans" cxnId="{6716A02E-0E10-4ED0-8FBB-FFFB22FE38A6}">
      <dgm:prSet/>
      <dgm:spPr/>
      <dgm:t>
        <a:bodyPr/>
        <a:lstStyle/>
        <a:p>
          <a:endParaRPr lang="en-GB"/>
        </a:p>
      </dgm:t>
    </dgm:pt>
    <dgm:pt modelId="{64774B65-6269-4AD2-8DF5-FCCAE152EB7A}">
      <dgm:prSet/>
      <dgm:spPr/>
      <dgm:t>
        <a:bodyPr/>
        <a:lstStyle/>
        <a:p>
          <a:r>
            <a:rPr lang="en-GB" dirty="0"/>
            <a:t>January</a:t>
          </a:r>
        </a:p>
      </dgm:t>
    </dgm:pt>
    <dgm:pt modelId="{DDB4EFEC-8784-47A0-B322-D6A4F9B5AD83}" type="parTrans" cxnId="{717515CB-C7F4-479D-A16B-58DF0B70BB39}">
      <dgm:prSet/>
      <dgm:spPr/>
      <dgm:t>
        <a:bodyPr/>
        <a:lstStyle/>
        <a:p>
          <a:endParaRPr lang="en-GB"/>
        </a:p>
      </dgm:t>
    </dgm:pt>
    <dgm:pt modelId="{1962DAA4-9B03-4AEF-9237-CA789DFBC661}" type="sibTrans" cxnId="{717515CB-C7F4-479D-A16B-58DF0B70BB39}">
      <dgm:prSet/>
      <dgm:spPr/>
      <dgm:t>
        <a:bodyPr/>
        <a:lstStyle/>
        <a:p>
          <a:endParaRPr lang="en-GB"/>
        </a:p>
      </dgm:t>
    </dgm:pt>
    <dgm:pt modelId="{B6CC8CCA-72BC-4715-BC04-E4A6711B55EC}">
      <dgm:prSet phldrT="[Text]"/>
      <dgm:spPr/>
      <dgm:t>
        <a:bodyPr/>
        <a:lstStyle/>
        <a:p>
          <a:r>
            <a:rPr lang="en-GB" dirty="0"/>
            <a:t>Save the date shared internally and externally</a:t>
          </a:r>
        </a:p>
      </dgm:t>
    </dgm:pt>
    <dgm:pt modelId="{23D21C2B-B5F6-4A18-B5F5-30F3350C2DCF}" type="parTrans" cxnId="{4F798626-058A-43EF-8C69-B6CD7927DF57}">
      <dgm:prSet/>
      <dgm:spPr/>
      <dgm:t>
        <a:bodyPr/>
        <a:lstStyle/>
        <a:p>
          <a:endParaRPr lang="en-GB"/>
        </a:p>
      </dgm:t>
    </dgm:pt>
    <dgm:pt modelId="{84BF393F-B728-4B32-AD14-94462ABC323A}" type="sibTrans" cxnId="{4F798626-058A-43EF-8C69-B6CD7927DF57}">
      <dgm:prSet/>
      <dgm:spPr/>
      <dgm:t>
        <a:bodyPr/>
        <a:lstStyle/>
        <a:p>
          <a:endParaRPr lang="en-GB"/>
        </a:p>
      </dgm:t>
    </dgm:pt>
    <dgm:pt modelId="{320680B8-EFBD-4033-96ED-3AB5D6FE6467}">
      <dgm:prSet phldrT="[Text]"/>
      <dgm:spPr/>
      <dgm:t>
        <a:bodyPr/>
        <a:lstStyle/>
        <a:p>
          <a:r>
            <a:rPr lang="en-GB" dirty="0"/>
            <a:t>Confirm event theme</a:t>
          </a:r>
        </a:p>
      </dgm:t>
    </dgm:pt>
    <dgm:pt modelId="{87615E4B-A977-4009-A22B-41C38F27C0EC}" type="parTrans" cxnId="{237B3730-B5EF-4161-A433-BD3C627008D2}">
      <dgm:prSet/>
      <dgm:spPr/>
      <dgm:t>
        <a:bodyPr/>
        <a:lstStyle/>
        <a:p>
          <a:endParaRPr lang="en-GB"/>
        </a:p>
      </dgm:t>
    </dgm:pt>
    <dgm:pt modelId="{076E9CD9-CC05-4378-A126-C6B8272D5797}" type="sibTrans" cxnId="{237B3730-B5EF-4161-A433-BD3C627008D2}">
      <dgm:prSet/>
      <dgm:spPr/>
      <dgm:t>
        <a:bodyPr/>
        <a:lstStyle/>
        <a:p>
          <a:endParaRPr lang="en-GB"/>
        </a:p>
      </dgm:t>
    </dgm:pt>
    <dgm:pt modelId="{64C99728-7A37-4A25-BA27-DC17556DED86}">
      <dgm:prSet phldrT="[Text]"/>
      <dgm:spPr/>
      <dgm:t>
        <a:bodyPr/>
        <a:lstStyle/>
        <a:p>
          <a:r>
            <a:rPr lang="en-GB" dirty="0"/>
            <a:t>Draft agenda shared internally</a:t>
          </a:r>
        </a:p>
      </dgm:t>
    </dgm:pt>
    <dgm:pt modelId="{4517D98B-8F8F-4633-AE97-8643FAA4E3B2}" type="parTrans" cxnId="{69EDE65B-2889-4812-9D20-84E56064C770}">
      <dgm:prSet/>
      <dgm:spPr/>
      <dgm:t>
        <a:bodyPr/>
        <a:lstStyle/>
        <a:p>
          <a:endParaRPr lang="en-GB"/>
        </a:p>
      </dgm:t>
    </dgm:pt>
    <dgm:pt modelId="{2F0213AD-6D42-4592-ADF9-1966B364C8F4}" type="sibTrans" cxnId="{69EDE65B-2889-4812-9D20-84E56064C770}">
      <dgm:prSet/>
      <dgm:spPr/>
      <dgm:t>
        <a:bodyPr/>
        <a:lstStyle/>
        <a:p>
          <a:endParaRPr lang="en-GB"/>
        </a:p>
      </dgm:t>
    </dgm:pt>
    <dgm:pt modelId="{6CE5BD71-F91B-4068-9840-EFAD47420552}">
      <dgm:prSet phldrT="[Text]"/>
      <dgm:spPr/>
      <dgm:t>
        <a:bodyPr/>
        <a:lstStyle/>
        <a:p>
          <a:r>
            <a:rPr lang="en-GB" dirty="0"/>
            <a:t>Invite sent out to clients</a:t>
          </a:r>
        </a:p>
      </dgm:t>
    </dgm:pt>
    <dgm:pt modelId="{902A957E-429F-40A9-88EC-151BCE1A3F14}" type="parTrans" cxnId="{AB4B1EC0-6B78-4997-8A86-C7AA62C30C77}">
      <dgm:prSet/>
      <dgm:spPr/>
      <dgm:t>
        <a:bodyPr/>
        <a:lstStyle/>
        <a:p>
          <a:endParaRPr lang="en-GB"/>
        </a:p>
      </dgm:t>
    </dgm:pt>
    <dgm:pt modelId="{12AE421D-3D15-4340-B434-BECFD13235AC}" type="sibTrans" cxnId="{AB4B1EC0-6B78-4997-8A86-C7AA62C30C77}">
      <dgm:prSet/>
      <dgm:spPr/>
      <dgm:t>
        <a:bodyPr/>
        <a:lstStyle/>
        <a:p>
          <a:endParaRPr lang="en-GB"/>
        </a:p>
      </dgm:t>
    </dgm:pt>
    <dgm:pt modelId="{04100913-7E0B-4A90-9FEF-936344F917E3}">
      <dgm:prSet/>
      <dgm:spPr/>
      <dgm:t>
        <a:bodyPr/>
        <a:lstStyle/>
        <a:p>
          <a:r>
            <a:rPr lang="en-GB" dirty="0"/>
            <a:t>Creative look and feel </a:t>
          </a:r>
          <a:r>
            <a:rPr lang="en-GB" dirty="0" err="1"/>
            <a:t>inc</a:t>
          </a:r>
          <a:r>
            <a:rPr lang="en-GB" dirty="0"/>
            <a:t> branding finalised</a:t>
          </a:r>
        </a:p>
      </dgm:t>
    </dgm:pt>
    <dgm:pt modelId="{00648E99-0847-4725-AF09-9E3C7EF294F7}" type="parTrans" cxnId="{23543BA0-92A3-4C3B-9DE8-646245121FE9}">
      <dgm:prSet/>
      <dgm:spPr/>
      <dgm:t>
        <a:bodyPr/>
        <a:lstStyle/>
        <a:p>
          <a:endParaRPr lang="en-GB"/>
        </a:p>
      </dgm:t>
    </dgm:pt>
    <dgm:pt modelId="{11F2EE0B-896F-46B1-BD7F-15985FCE647A}" type="sibTrans" cxnId="{23543BA0-92A3-4C3B-9DE8-646245121FE9}">
      <dgm:prSet/>
      <dgm:spPr/>
      <dgm:t>
        <a:bodyPr/>
        <a:lstStyle/>
        <a:p>
          <a:endParaRPr lang="en-GB"/>
        </a:p>
      </dgm:t>
    </dgm:pt>
    <dgm:pt modelId="{B7F365D4-28E2-41D4-A29B-B1DE6631CD22}">
      <dgm:prSet/>
      <dgm:spPr/>
      <dgm:t>
        <a:bodyPr/>
        <a:lstStyle/>
        <a:p>
          <a:r>
            <a:rPr lang="en-GB" dirty="0"/>
            <a:t>Joining instructions shared with clients</a:t>
          </a:r>
        </a:p>
      </dgm:t>
    </dgm:pt>
    <dgm:pt modelId="{6AD7C7CA-54CD-479E-9D83-7C369FC1939E}" type="parTrans" cxnId="{E9CE4E46-18DC-472C-83FA-61A3A29C7993}">
      <dgm:prSet/>
      <dgm:spPr/>
      <dgm:t>
        <a:bodyPr/>
        <a:lstStyle/>
        <a:p>
          <a:endParaRPr lang="en-GB"/>
        </a:p>
      </dgm:t>
    </dgm:pt>
    <dgm:pt modelId="{F632F056-B2BD-49EB-912B-35443946D181}" type="sibTrans" cxnId="{E9CE4E46-18DC-472C-83FA-61A3A29C7993}">
      <dgm:prSet/>
      <dgm:spPr/>
      <dgm:t>
        <a:bodyPr/>
        <a:lstStyle/>
        <a:p>
          <a:endParaRPr lang="en-GB"/>
        </a:p>
      </dgm:t>
    </dgm:pt>
    <dgm:pt modelId="{8BDB14F1-F2E9-4115-A1B3-6773693249E5}">
      <dgm:prSet/>
      <dgm:spPr/>
      <dgm:t>
        <a:bodyPr/>
        <a:lstStyle/>
        <a:p>
          <a:r>
            <a:rPr lang="en-GB" dirty="0"/>
            <a:t>Presentations finalised</a:t>
          </a:r>
        </a:p>
      </dgm:t>
    </dgm:pt>
    <dgm:pt modelId="{B5DED44F-162C-4E55-9BA5-A182F44F024E}" type="parTrans" cxnId="{99FC3FAC-FA05-4FDC-B58A-A093EB77CD47}">
      <dgm:prSet/>
      <dgm:spPr/>
      <dgm:t>
        <a:bodyPr/>
        <a:lstStyle/>
        <a:p>
          <a:endParaRPr lang="en-GB"/>
        </a:p>
      </dgm:t>
    </dgm:pt>
    <dgm:pt modelId="{35DE8208-5E4D-4A64-99BF-602173D4FE58}" type="sibTrans" cxnId="{99FC3FAC-FA05-4FDC-B58A-A093EB77CD47}">
      <dgm:prSet/>
      <dgm:spPr/>
      <dgm:t>
        <a:bodyPr/>
        <a:lstStyle/>
        <a:p>
          <a:endParaRPr lang="en-GB"/>
        </a:p>
      </dgm:t>
    </dgm:pt>
    <dgm:pt modelId="{253CB18C-EB03-490F-BFA2-CF9E3BC2391D}">
      <dgm:prSet/>
      <dgm:spPr/>
      <dgm:t>
        <a:bodyPr/>
        <a:lstStyle/>
        <a:p>
          <a:r>
            <a:rPr lang="en-GB" dirty="0"/>
            <a:t>Content sessions</a:t>
          </a:r>
        </a:p>
      </dgm:t>
    </dgm:pt>
    <dgm:pt modelId="{037EFBBA-360F-42EC-B582-518A4F00E3A6}" type="parTrans" cxnId="{C0DB1B49-3216-4834-82BB-AA91C708FAA9}">
      <dgm:prSet/>
      <dgm:spPr/>
      <dgm:t>
        <a:bodyPr/>
        <a:lstStyle/>
        <a:p>
          <a:endParaRPr lang="en-GB"/>
        </a:p>
      </dgm:t>
    </dgm:pt>
    <dgm:pt modelId="{46E24DBB-8A7D-4B0D-8C85-16561F30D3D7}" type="sibTrans" cxnId="{C0DB1B49-3216-4834-82BB-AA91C708FAA9}">
      <dgm:prSet/>
      <dgm:spPr/>
      <dgm:t>
        <a:bodyPr/>
        <a:lstStyle/>
        <a:p>
          <a:endParaRPr lang="en-GB"/>
        </a:p>
      </dgm:t>
    </dgm:pt>
    <dgm:pt modelId="{114737A2-26E1-42F4-84A1-93EFE0EB2C21}" type="pres">
      <dgm:prSet presAssocID="{087D5CAE-1DC8-4DE1-9CC8-9872436549D6}" presName="linearFlow" presStyleCnt="0">
        <dgm:presLayoutVars>
          <dgm:dir/>
          <dgm:animLvl val="lvl"/>
          <dgm:resizeHandles val="exact"/>
        </dgm:presLayoutVars>
      </dgm:prSet>
      <dgm:spPr/>
    </dgm:pt>
    <dgm:pt modelId="{DFD9CE89-3142-410A-AFA8-27C70AD12A20}" type="pres">
      <dgm:prSet presAssocID="{7084BDF9-9010-447C-AABB-ED232AE7C0BC}" presName="composite" presStyleCnt="0"/>
      <dgm:spPr/>
    </dgm:pt>
    <dgm:pt modelId="{CFA5B35E-CFD0-462D-97DE-C7EBEAA0D920}" type="pres">
      <dgm:prSet presAssocID="{7084BDF9-9010-447C-AABB-ED232AE7C0BC}" presName="parTx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E4CE91AD-BBAC-4283-8D7B-297C6903B11F}" type="pres">
      <dgm:prSet presAssocID="{7084BDF9-9010-447C-AABB-ED232AE7C0BC}" presName="parSh" presStyleLbl="node1" presStyleIdx="0" presStyleCnt="5"/>
      <dgm:spPr/>
    </dgm:pt>
    <dgm:pt modelId="{6D7FCF05-13D4-4DC0-9A32-95E745C0FAB7}" type="pres">
      <dgm:prSet presAssocID="{7084BDF9-9010-447C-AABB-ED232AE7C0BC}" presName="desTx" presStyleLbl="fgAcc1" presStyleIdx="0" presStyleCnt="5">
        <dgm:presLayoutVars>
          <dgm:bulletEnabled val="1"/>
        </dgm:presLayoutVars>
      </dgm:prSet>
      <dgm:spPr/>
    </dgm:pt>
    <dgm:pt modelId="{546A8C2B-75DC-43B0-9A4F-E8C426806C30}" type="pres">
      <dgm:prSet presAssocID="{5C57532C-8C69-4D72-B8B3-1DBA768B81C2}" presName="sibTrans" presStyleLbl="sibTrans2D1" presStyleIdx="0" presStyleCnt="4"/>
      <dgm:spPr/>
    </dgm:pt>
    <dgm:pt modelId="{4CA1FC1B-5FFA-4967-BD91-CB88530913D1}" type="pres">
      <dgm:prSet presAssocID="{5C57532C-8C69-4D72-B8B3-1DBA768B81C2}" presName="connTx" presStyleLbl="sibTrans2D1" presStyleIdx="0" presStyleCnt="4"/>
      <dgm:spPr/>
    </dgm:pt>
    <dgm:pt modelId="{451F0ED5-EE76-4513-9B53-34147F0C5E08}" type="pres">
      <dgm:prSet presAssocID="{E4B37E7B-CFC4-44FE-9482-DC42C12E712A}" presName="composite" presStyleCnt="0"/>
      <dgm:spPr/>
    </dgm:pt>
    <dgm:pt modelId="{7BD6694E-A922-46DB-AC99-FC1207493CEB}" type="pres">
      <dgm:prSet presAssocID="{E4B37E7B-CFC4-44FE-9482-DC42C12E712A}" presName="parTx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F5AD6C81-4F7A-479C-A5F7-BF942D201AAF}" type="pres">
      <dgm:prSet presAssocID="{E4B37E7B-CFC4-44FE-9482-DC42C12E712A}" presName="parSh" presStyleLbl="node1" presStyleIdx="1" presStyleCnt="5"/>
      <dgm:spPr/>
    </dgm:pt>
    <dgm:pt modelId="{4C1AF0B8-F25C-4E8C-9AE3-2B1B0935ABC1}" type="pres">
      <dgm:prSet presAssocID="{E4B37E7B-CFC4-44FE-9482-DC42C12E712A}" presName="desTx" presStyleLbl="fgAcc1" presStyleIdx="1" presStyleCnt="5">
        <dgm:presLayoutVars>
          <dgm:bulletEnabled val="1"/>
        </dgm:presLayoutVars>
      </dgm:prSet>
      <dgm:spPr/>
    </dgm:pt>
    <dgm:pt modelId="{F69FB6DA-F143-493C-824E-53A21F275074}" type="pres">
      <dgm:prSet presAssocID="{753CB627-731C-49E8-AF76-D0FD98D97812}" presName="sibTrans" presStyleLbl="sibTrans2D1" presStyleIdx="1" presStyleCnt="4"/>
      <dgm:spPr/>
    </dgm:pt>
    <dgm:pt modelId="{9A7B02FA-B053-4809-8236-2D6C64602D0D}" type="pres">
      <dgm:prSet presAssocID="{753CB627-731C-49E8-AF76-D0FD98D97812}" presName="connTx" presStyleLbl="sibTrans2D1" presStyleIdx="1" presStyleCnt="4"/>
      <dgm:spPr/>
    </dgm:pt>
    <dgm:pt modelId="{DF05DC35-D7C3-4A76-875D-35FD4B065974}" type="pres">
      <dgm:prSet presAssocID="{4FC99990-06C9-4454-9317-2156971A5384}" presName="composite" presStyleCnt="0"/>
      <dgm:spPr/>
    </dgm:pt>
    <dgm:pt modelId="{E8A2FCFC-D99B-43E3-B1FF-C5F987790A99}" type="pres">
      <dgm:prSet presAssocID="{4FC99990-06C9-4454-9317-2156971A5384}" presName="parTx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C5BF3E9B-EC4A-4DCC-83B1-3A52698A843C}" type="pres">
      <dgm:prSet presAssocID="{4FC99990-06C9-4454-9317-2156971A5384}" presName="parSh" presStyleLbl="node1" presStyleIdx="2" presStyleCnt="5"/>
      <dgm:spPr/>
    </dgm:pt>
    <dgm:pt modelId="{41654B8C-515A-48CF-B4AE-8F358F6E2D35}" type="pres">
      <dgm:prSet presAssocID="{4FC99990-06C9-4454-9317-2156971A5384}" presName="desTx" presStyleLbl="fgAcc1" presStyleIdx="2" presStyleCnt="5">
        <dgm:presLayoutVars>
          <dgm:bulletEnabled val="1"/>
        </dgm:presLayoutVars>
      </dgm:prSet>
      <dgm:spPr/>
    </dgm:pt>
    <dgm:pt modelId="{CEDB1E25-9186-4340-B242-8352E3A4D54B}" type="pres">
      <dgm:prSet presAssocID="{43AF6E3D-84F8-4DEC-82CC-4A2BDB06A4DB}" presName="sibTrans" presStyleLbl="sibTrans2D1" presStyleIdx="2" presStyleCnt="4"/>
      <dgm:spPr/>
    </dgm:pt>
    <dgm:pt modelId="{F3B20DF3-723F-45AD-8044-66AB0FB84107}" type="pres">
      <dgm:prSet presAssocID="{43AF6E3D-84F8-4DEC-82CC-4A2BDB06A4DB}" presName="connTx" presStyleLbl="sibTrans2D1" presStyleIdx="2" presStyleCnt="4"/>
      <dgm:spPr/>
    </dgm:pt>
    <dgm:pt modelId="{D0478505-F834-4FAB-A4E8-8014A92796AE}" type="pres">
      <dgm:prSet presAssocID="{9B4E2650-6855-41E5-AE3B-A837B38979C4}" presName="composite" presStyleCnt="0"/>
      <dgm:spPr/>
    </dgm:pt>
    <dgm:pt modelId="{BDE241C9-25BF-4906-99B8-C9622E41C038}" type="pres">
      <dgm:prSet presAssocID="{9B4E2650-6855-41E5-AE3B-A837B38979C4}" presName="parTx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583C43D4-F718-4564-AFA2-21DD14AF6B7D}" type="pres">
      <dgm:prSet presAssocID="{9B4E2650-6855-41E5-AE3B-A837B38979C4}" presName="parSh" presStyleLbl="node1" presStyleIdx="3" presStyleCnt="5"/>
      <dgm:spPr/>
    </dgm:pt>
    <dgm:pt modelId="{9165ED0F-89F3-4F55-B1CE-E0F9A7FA60F8}" type="pres">
      <dgm:prSet presAssocID="{9B4E2650-6855-41E5-AE3B-A837B38979C4}" presName="desTx" presStyleLbl="fgAcc1" presStyleIdx="3" presStyleCnt="5">
        <dgm:presLayoutVars>
          <dgm:bulletEnabled val="1"/>
        </dgm:presLayoutVars>
      </dgm:prSet>
      <dgm:spPr/>
    </dgm:pt>
    <dgm:pt modelId="{15ED0FCD-4D7F-43BB-BF07-35902F5CEB96}" type="pres">
      <dgm:prSet presAssocID="{15F24463-0A33-4AF1-96D8-37F288953BEE}" presName="sibTrans" presStyleLbl="sibTrans2D1" presStyleIdx="3" presStyleCnt="4"/>
      <dgm:spPr/>
    </dgm:pt>
    <dgm:pt modelId="{1CBFB207-74B6-4D7D-98E7-B25947FBD82A}" type="pres">
      <dgm:prSet presAssocID="{15F24463-0A33-4AF1-96D8-37F288953BEE}" presName="connTx" presStyleLbl="sibTrans2D1" presStyleIdx="3" presStyleCnt="4"/>
      <dgm:spPr/>
    </dgm:pt>
    <dgm:pt modelId="{36554993-5385-460E-B156-1CC1F9855BBE}" type="pres">
      <dgm:prSet presAssocID="{64774B65-6269-4AD2-8DF5-FCCAE152EB7A}" presName="composite" presStyleCnt="0"/>
      <dgm:spPr/>
    </dgm:pt>
    <dgm:pt modelId="{967AEC12-E18F-4170-9342-346DA42486C2}" type="pres">
      <dgm:prSet presAssocID="{64774B65-6269-4AD2-8DF5-FCCAE152EB7A}" presName="parTx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DA6E5BB2-0E11-4762-8273-831842023B85}" type="pres">
      <dgm:prSet presAssocID="{64774B65-6269-4AD2-8DF5-FCCAE152EB7A}" presName="parSh" presStyleLbl="node1" presStyleIdx="4" presStyleCnt="5"/>
      <dgm:spPr/>
    </dgm:pt>
    <dgm:pt modelId="{C550A82F-7F7F-49FF-BFE0-9D4566BFED44}" type="pres">
      <dgm:prSet presAssocID="{64774B65-6269-4AD2-8DF5-FCCAE152EB7A}" presName="desTx" presStyleLbl="fgAcc1" presStyleIdx="4" presStyleCnt="5">
        <dgm:presLayoutVars>
          <dgm:bulletEnabled val="1"/>
        </dgm:presLayoutVars>
      </dgm:prSet>
      <dgm:spPr/>
    </dgm:pt>
  </dgm:ptLst>
  <dgm:cxnLst>
    <dgm:cxn modelId="{3A900B0A-5AE1-4C33-A9E8-00F6A08BC023}" type="presOf" srcId="{4FC99990-06C9-4454-9317-2156971A5384}" destId="{E8A2FCFC-D99B-43E3-B1FF-C5F987790A99}" srcOrd="0" destOrd="0" presId="urn:microsoft.com/office/officeart/2005/8/layout/process3"/>
    <dgm:cxn modelId="{6B60F70E-BD46-4419-9DDD-1F3A3ECFA1AE}" type="presOf" srcId="{4FC99990-06C9-4454-9317-2156971A5384}" destId="{C5BF3E9B-EC4A-4DCC-83B1-3A52698A843C}" srcOrd="1" destOrd="0" presId="urn:microsoft.com/office/officeart/2005/8/layout/process3"/>
    <dgm:cxn modelId="{2BAD930F-6AF3-4E4D-A82D-EFF21D16B059}" srcId="{087D5CAE-1DC8-4DE1-9CC8-9872436549D6}" destId="{E4B37E7B-CFC4-44FE-9482-DC42C12E712A}" srcOrd="1" destOrd="0" parTransId="{D7056BCC-2509-45FB-AFF9-15CF290E7979}" sibTransId="{753CB627-731C-49E8-AF76-D0FD98D97812}"/>
    <dgm:cxn modelId="{175D5118-0B82-4286-BCA0-B711F99D47CA}" type="presOf" srcId="{087D5CAE-1DC8-4DE1-9CC8-9872436549D6}" destId="{114737A2-26E1-42F4-84A1-93EFE0EB2C21}" srcOrd="0" destOrd="0" presId="urn:microsoft.com/office/officeart/2005/8/layout/process3"/>
    <dgm:cxn modelId="{CC1B361B-387A-4B02-A0E9-48749FA8249B}" type="presOf" srcId="{15F24463-0A33-4AF1-96D8-37F288953BEE}" destId="{15ED0FCD-4D7F-43BB-BF07-35902F5CEB96}" srcOrd="0" destOrd="0" presId="urn:microsoft.com/office/officeart/2005/8/layout/process3"/>
    <dgm:cxn modelId="{4F798626-058A-43EF-8C69-B6CD7927DF57}" srcId="{7084BDF9-9010-447C-AABB-ED232AE7C0BC}" destId="{B6CC8CCA-72BC-4715-BC04-E4A6711B55EC}" srcOrd="1" destOrd="0" parTransId="{23D21C2B-B5F6-4A18-B5F5-30F3350C2DCF}" sibTransId="{84BF393F-B728-4B32-AD14-94462ABC323A}"/>
    <dgm:cxn modelId="{A91D382A-850F-418A-8B65-C1782C6EC868}" type="presOf" srcId="{15F24463-0A33-4AF1-96D8-37F288953BEE}" destId="{1CBFB207-74B6-4D7D-98E7-B25947FBD82A}" srcOrd="1" destOrd="0" presId="urn:microsoft.com/office/officeart/2005/8/layout/process3"/>
    <dgm:cxn modelId="{6716A02E-0E10-4ED0-8FBB-FFFB22FE38A6}" srcId="{087D5CAE-1DC8-4DE1-9CC8-9872436549D6}" destId="{9B4E2650-6855-41E5-AE3B-A837B38979C4}" srcOrd="3" destOrd="0" parTransId="{F068F5A4-EA9F-4065-98A5-4A7B70605D6F}" sibTransId="{15F24463-0A33-4AF1-96D8-37F288953BEE}"/>
    <dgm:cxn modelId="{237B3730-B5EF-4161-A433-BD3C627008D2}" srcId="{E4B37E7B-CFC4-44FE-9482-DC42C12E712A}" destId="{320680B8-EFBD-4033-96ED-3AB5D6FE6467}" srcOrd="1" destOrd="0" parTransId="{87615E4B-A977-4009-A22B-41C38F27C0EC}" sibTransId="{076E9CD9-CC05-4378-A126-C6B8272D5797}"/>
    <dgm:cxn modelId="{C4968238-F97B-4F13-BA2E-F44C65742165}" type="presOf" srcId="{43AF6E3D-84F8-4DEC-82CC-4A2BDB06A4DB}" destId="{F3B20DF3-723F-45AD-8044-66AB0FB84107}" srcOrd="1" destOrd="0" presId="urn:microsoft.com/office/officeart/2005/8/layout/process3"/>
    <dgm:cxn modelId="{24A61B39-F0CA-4BF1-947B-F87BE54FA4B0}" type="presOf" srcId="{9B4E2650-6855-41E5-AE3B-A837B38979C4}" destId="{BDE241C9-25BF-4906-99B8-C9622E41C038}" srcOrd="0" destOrd="0" presId="urn:microsoft.com/office/officeart/2005/8/layout/process3"/>
    <dgm:cxn modelId="{3D5A5D3A-86AE-4E01-9FEB-E0418368306F}" type="presOf" srcId="{753CB627-731C-49E8-AF76-D0FD98D97812}" destId="{9A7B02FA-B053-4809-8236-2D6C64602D0D}" srcOrd="1" destOrd="0" presId="urn:microsoft.com/office/officeart/2005/8/layout/process3"/>
    <dgm:cxn modelId="{2855A343-A343-453D-9129-22D4626387FD}" type="presOf" srcId="{64774B65-6269-4AD2-8DF5-FCCAE152EB7A}" destId="{967AEC12-E18F-4170-9342-346DA42486C2}" srcOrd="0" destOrd="0" presId="urn:microsoft.com/office/officeart/2005/8/layout/process3"/>
    <dgm:cxn modelId="{E9CE4E46-18DC-472C-83FA-61A3A29C7993}" srcId="{64774B65-6269-4AD2-8DF5-FCCAE152EB7A}" destId="{B7F365D4-28E2-41D4-A29B-B1DE6631CD22}" srcOrd="1" destOrd="0" parTransId="{6AD7C7CA-54CD-479E-9D83-7C369FC1939E}" sibTransId="{F632F056-B2BD-49EB-912B-35443946D181}"/>
    <dgm:cxn modelId="{C0DB1B49-3216-4834-82BB-AA91C708FAA9}" srcId="{9B4E2650-6855-41E5-AE3B-A837B38979C4}" destId="{253CB18C-EB03-490F-BFA2-CF9E3BC2391D}" srcOrd="1" destOrd="0" parTransId="{037EFBBA-360F-42EC-B582-518A4F00E3A6}" sibTransId="{46E24DBB-8A7D-4B0D-8C85-16561F30D3D7}"/>
    <dgm:cxn modelId="{AFF6C550-B5CA-4B2A-913D-7BB73249F01D}" type="presOf" srcId="{708C574E-A456-4180-9882-E8AFFCCA7C20}" destId="{6D7FCF05-13D4-4DC0-9A32-95E745C0FAB7}" srcOrd="0" destOrd="0" presId="urn:microsoft.com/office/officeart/2005/8/layout/process3"/>
    <dgm:cxn modelId="{FBB0CA53-3EA2-4A2F-955E-A289A023E19D}" type="presOf" srcId="{320680B8-EFBD-4033-96ED-3AB5D6FE6467}" destId="{4C1AF0B8-F25C-4E8C-9AE3-2B1B0935ABC1}" srcOrd="0" destOrd="1" presId="urn:microsoft.com/office/officeart/2005/8/layout/process3"/>
    <dgm:cxn modelId="{DC7AD954-078D-455B-870E-3FEFD1411AF7}" type="presOf" srcId="{253CB18C-EB03-490F-BFA2-CF9E3BC2391D}" destId="{9165ED0F-89F3-4F55-B1CE-E0F9A7FA60F8}" srcOrd="0" destOrd="1" presId="urn:microsoft.com/office/officeart/2005/8/layout/process3"/>
    <dgm:cxn modelId="{4EE9045A-7552-45B4-8F1B-8617241BA1E5}" type="presOf" srcId="{5C57532C-8C69-4D72-B8B3-1DBA768B81C2}" destId="{546A8C2B-75DC-43B0-9A4F-E8C426806C30}" srcOrd="0" destOrd="0" presId="urn:microsoft.com/office/officeart/2005/8/layout/process3"/>
    <dgm:cxn modelId="{750F355A-0DD0-4878-AF45-7C8FFC39924D}" type="presOf" srcId="{B7F365D4-28E2-41D4-A29B-B1DE6631CD22}" destId="{C550A82F-7F7F-49FF-BFE0-9D4566BFED44}" srcOrd="0" destOrd="1" presId="urn:microsoft.com/office/officeart/2005/8/layout/process3"/>
    <dgm:cxn modelId="{69EDE65B-2889-4812-9D20-84E56064C770}" srcId="{E4B37E7B-CFC4-44FE-9482-DC42C12E712A}" destId="{64C99728-7A37-4A25-BA27-DC17556DED86}" srcOrd="2" destOrd="0" parTransId="{4517D98B-8F8F-4633-AE97-8643FAA4E3B2}" sibTransId="{2F0213AD-6D42-4592-ADF9-1966B364C8F4}"/>
    <dgm:cxn modelId="{42749966-2317-442F-915C-172080CFC654}" type="presOf" srcId="{E4B37E7B-CFC4-44FE-9482-DC42C12E712A}" destId="{7BD6694E-A922-46DB-AC99-FC1207493CEB}" srcOrd="0" destOrd="0" presId="urn:microsoft.com/office/officeart/2005/8/layout/process3"/>
    <dgm:cxn modelId="{598AE966-96A2-4326-BA7F-7309143B2C8E}" type="presOf" srcId="{E4B37E7B-CFC4-44FE-9482-DC42C12E712A}" destId="{F5AD6C81-4F7A-479C-A5F7-BF942D201AAF}" srcOrd="1" destOrd="0" presId="urn:microsoft.com/office/officeart/2005/8/layout/process3"/>
    <dgm:cxn modelId="{02E08174-0E96-49E6-9072-099D90AE58F6}" srcId="{4FC99990-06C9-4454-9317-2156971A5384}" destId="{F00EB4D1-D88E-45C6-99B2-A922625FD8EF}" srcOrd="0" destOrd="0" parTransId="{F8AE65C0-068E-4D36-BE03-D6F839AF3D7B}" sibTransId="{F685C905-2935-4DD8-9023-7DCC7DDCB2B5}"/>
    <dgm:cxn modelId="{C5D7CA7D-B9DD-433C-8EC4-91B6C648B062}" type="presOf" srcId="{6CE5BD71-F91B-4068-9840-EFAD47420552}" destId="{41654B8C-515A-48CF-B4AE-8F358F6E2D35}" srcOrd="0" destOrd="1" presId="urn:microsoft.com/office/officeart/2005/8/layout/process3"/>
    <dgm:cxn modelId="{324D9684-AC4D-443E-B279-0EF423DEA017}" type="presOf" srcId="{9B4E2650-6855-41E5-AE3B-A837B38979C4}" destId="{583C43D4-F718-4564-AFA2-21DD14AF6B7D}" srcOrd="1" destOrd="0" presId="urn:microsoft.com/office/officeart/2005/8/layout/process3"/>
    <dgm:cxn modelId="{F497CA8D-0B72-4C20-9994-67EF882C5CC4}" srcId="{E4B37E7B-CFC4-44FE-9482-DC42C12E712A}" destId="{A68032A2-05C0-4958-97D9-E17D75A3A8C7}" srcOrd="0" destOrd="0" parTransId="{D0DCD928-8EBD-4976-B8F0-BEE38624901D}" sibTransId="{C39A76C4-22D8-4A79-BD61-78941106302D}"/>
    <dgm:cxn modelId="{32F4778E-89AD-4435-908F-1CE5FDB33A8A}" type="presOf" srcId="{04100913-7E0B-4A90-9FEF-936344F917E3}" destId="{9165ED0F-89F3-4F55-B1CE-E0F9A7FA60F8}" srcOrd="0" destOrd="0" presId="urn:microsoft.com/office/officeart/2005/8/layout/process3"/>
    <dgm:cxn modelId="{D11A2590-AD75-4004-9CBE-90B0643005A4}" type="presOf" srcId="{43AF6E3D-84F8-4DEC-82CC-4A2BDB06A4DB}" destId="{CEDB1E25-9186-4340-B242-8352E3A4D54B}" srcOrd="0" destOrd="0" presId="urn:microsoft.com/office/officeart/2005/8/layout/process3"/>
    <dgm:cxn modelId="{2D71E298-A8D0-4044-8118-3FB7F6A364FA}" type="presOf" srcId="{B6CC8CCA-72BC-4715-BC04-E4A6711B55EC}" destId="{6D7FCF05-13D4-4DC0-9A32-95E745C0FAB7}" srcOrd="0" destOrd="1" presId="urn:microsoft.com/office/officeart/2005/8/layout/process3"/>
    <dgm:cxn modelId="{B689CD9E-3EAC-499F-98BC-1C0FE82E0961}" type="presOf" srcId="{A68032A2-05C0-4958-97D9-E17D75A3A8C7}" destId="{4C1AF0B8-F25C-4E8C-9AE3-2B1B0935ABC1}" srcOrd="0" destOrd="0" presId="urn:microsoft.com/office/officeart/2005/8/layout/process3"/>
    <dgm:cxn modelId="{23543BA0-92A3-4C3B-9DE8-646245121FE9}" srcId="{9B4E2650-6855-41E5-AE3B-A837B38979C4}" destId="{04100913-7E0B-4A90-9FEF-936344F917E3}" srcOrd="0" destOrd="0" parTransId="{00648E99-0847-4725-AF09-9E3C7EF294F7}" sibTransId="{11F2EE0B-896F-46B1-BD7F-15985FCE647A}"/>
    <dgm:cxn modelId="{FC4ACCA4-435D-4AD5-A5EC-67778AB79C2C}" type="presOf" srcId="{7084BDF9-9010-447C-AABB-ED232AE7C0BC}" destId="{CFA5B35E-CFD0-462D-97DE-C7EBEAA0D920}" srcOrd="0" destOrd="0" presId="urn:microsoft.com/office/officeart/2005/8/layout/process3"/>
    <dgm:cxn modelId="{99FC3FAC-FA05-4FDC-B58A-A093EB77CD47}" srcId="{64774B65-6269-4AD2-8DF5-FCCAE152EB7A}" destId="{8BDB14F1-F2E9-4115-A1B3-6773693249E5}" srcOrd="0" destOrd="0" parTransId="{B5DED44F-162C-4E55-9BA5-A182F44F024E}" sibTransId="{35DE8208-5E4D-4A64-99BF-602173D4FE58}"/>
    <dgm:cxn modelId="{7D3218B3-9AC1-4BB3-9EB9-DE0639CBB700}" srcId="{7084BDF9-9010-447C-AABB-ED232AE7C0BC}" destId="{708C574E-A456-4180-9882-E8AFFCCA7C20}" srcOrd="0" destOrd="0" parTransId="{C88705E0-0AF4-40DC-8BCC-CB0AFBFAD2F7}" sibTransId="{BA1288BD-A108-401C-BB81-B3B6748E6C56}"/>
    <dgm:cxn modelId="{49FEC6B3-D541-430E-A6A2-24C5651BA404}" type="presOf" srcId="{5C57532C-8C69-4D72-B8B3-1DBA768B81C2}" destId="{4CA1FC1B-5FFA-4967-BD91-CB88530913D1}" srcOrd="1" destOrd="0" presId="urn:microsoft.com/office/officeart/2005/8/layout/process3"/>
    <dgm:cxn modelId="{AB4B1EC0-6B78-4997-8A86-C7AA62C30C77}" srcId="{4FC99990-06C9-4454-9317-2156971A5384}" destId="{6CE5BD71-F91B-4068-9840-EFAD47420552}" srcOrd="1" destOrd="0" parTransId="{902A957E-429F-40A9-88EC-151BCE1A3F14}" sibTransId="{12AE421D-3D15-4340-B434-BECFD13235AC}"/>
    <dgm:cxn modelId="{238289C5-B3E5-4AF6-B0B8-0B233F8BBEA9}" type="presOf" srcId="{7084BDF9-9010-447C-AABB-ED232AE7C0BC}" destId="{E4CE91AD-BBAC-4283-8D7B-297C6903B11F}" srcOrd="1" destOrd="0" presId="urn:microsoft.com/office/officeart/2005/8/layout/process3"/>
    <dgm:cxn modelId="{89439DC8-3E79-44F2-B081-9E29162CC8AC}" type="presOf" srcId="{F00EB4D1-D88E-45C6-99B2-A922625FD8EF}" destId="{41654B8C-515A-48CF-B4AE-8F358F6E2D35}" srcOrd="0" destOrd="0" presId="urn:microsoft.com/office/officeart/2005/8/layout/process3"/>
    <dgm:cxn modelId="{717515CB-C7F4-479D-A16B-58DF0B70BB39}" srcId="{087D5CAE-1DC8-4DE1-9CC8-9872436549D6}" destId="{64774B65-6269-4AD2-8DF5-FCCAE152EB7A}" srcOrd="4" destOrd="0" parTransId="{DDB4EFEC-8784-47A0-B322-D6A4F9B5AD83}" sibTransId="{1962DAA4-9B03-4AEF-9237-CA789DFBC661}"/>
    <dgm:cxn modelId="{D9A646D0-650F-402B-B3BB-7FBFB6A72804}" type="presOf" srcId="{64C99728-7A37-4A25-BA27-DC17556DED86}" destId="{4C1AF0B8-F25C-4E8C-9AE3-2B1B0935ABC1}" srcOrd="0" destOrd="2" presId="urn:microsoft.com/office/officeart/2005/8/layout/process3"/>
    <dgm:cxn modelId="{733A0ED4-620C-4E29-A14A-9A586A9BD449}" srcId="{087D5CAE-1DC8-4DE1-9CC8-9872436549D6}" destId="{4FC99990-06C9-4454-9317-2156971A5384}" srcOrd="2" destOrd="0" parTransId="{120C1EB7-8982-46EA-BD84-A68FF0FDA348}" sibTransId="{43AF6E3D-84F8-4DEC-82CC-4A2BDB06A4DB}"/>
    <dgm:cxn modelId="{DF1A7EDA-F831-4223-A4C7-C680FE718D19}" type="presOf" srcId="{8BDB14F1-F2E9-4115-A1B3-6773693249E5}" destId="{C550A82F-7F7F-49FF-BFE0-9D4566BFED44}" srcOrd="0" destOrd="0" presId="urn:microsoft.com/office/officeart/2005/8/layout/process3"/>
    <dgm:cxn modelId="{FF22DBE4-3FD5-4C74-8B33-2B011A65FFA7}" type="presOf" srcId="{64774B65-6269-4AD2-8DF5-FCCAE152EB7A}" destId="{DA6E5BB2-0E11-4762-8273-831842023B85}" srcOrd="1" destOrd="0" presId="urn:microsoft.com/office/officeart/2005/8/layout/process3"/>
    <dgm:cxn modelId="{BB25A7E7-17D4-425C-B284-9CCCC32C8CFA}" type="presOf" srcId="{753CB627-731C-49E8-AF76-D0FD98D97812}" destId="{F69FB6DA-F143-493C-824E-53A21F275074}" srcOrd="0" destOrd="0" presId="urn:microsoft.com/office/officeart/2005/8/layout/process3"/>
    <dgm:cxn modelId="{BFCCD2EF-B4EC-42E2-BE5C-B1808ADE4177}" srcId="{087D5CAE-1DC8-4DE1-9CC8-9872436549D6}" destId="{7084BDF9-9010-447C-AABB-ED232AE7C0BC}" srcOrd="0" destOrd="0" parTransId="{B5991EED-D148-4386-B6B0-579DC47143E3}" sibTransId="{5C57532C-8C69-4D72-B8B3-1DBA768B81C2}"/>
    <dgm:cxn modelId="{C3F11396-BB9E-40CA-A930-E014E9C5E249}" type="presParOf" srcId="{114737A2-26E1-42F4-84A1-93EFE0EB2C21}" destId="{DFD9CE89-3142-410A-AFA8-27C70AD12A20}" srcOrd="0" destOrd="0" presId="urn:microsoft.com/office/officeart/2005/8/layout/process3"/>
    <dgm:cxn modelId="{1AE78A9A-E47B-4E31-94E3-A7D5A6071C62}" type="presParOf" srcId="{DFD9CE89-3142-410A-AFA8-27C70AD12A20}" destId="{CFA5B35E-CFD0-462D-97DE-C7EBEAA0D920}" srcOrd="0" destOrd="0" presId="urn:microsoft.com/office/officeart/2005/8/layout/process3"/>
    <dgm:cxn modelId="{77FBE701-E9FA-46B0-9FCB-000305FA71AC}" type="presParOf" srcId="{DFD9CE89-3142-410A-AFA8-27C70AD12A20}" destId="{E4CE91AD-BBAC-4283-8D7B-297C6903B11F}" srcOrd="1" destOrd="0" presId="urn:microsoft.com/office/officeart/2005/8/layout/process3"/>
    <dgm:cxn modelId="{C0FF7427-C85F-4A09-8E7D-487A79677EEF}" type="presParOf" srcId="{DFD9CE89-3142-410A-AFA8-27C70AD12A20}" destId="{6D7FCF05-13D4-4DC0-9A32-95E745C0FAB7}" srcOrd="2" destOrd="0" presId="urn:microsoft.com/office/officeart/2005/8/layout/process3"/>
    <dgm:cxn modelId="{10CE2385-2C85-46DE-B8D9-667B37895D29}" type="presParOf" srcId="{114737A2-26E1-42F4-84A1-93EFE0EB2C21}" destId="{546A8C2B-75DC-43B0-9A4F-E8C426806C30}" srcOrd="1" destOrd="0" presId="urn:microsoft.com/office/officeart/2005/8/layout/process3"/>
    <dgm:cxn modelId="{D2DF6EB1-DF66-4732-9683-3ED3C9CAD72C}" type="presParOf" srcId="{546A8C2B-75DC-43B0-9A4F-E8C426806C30}" destId="{4CA1FC1B-5FFA-4967-BD91-CB88530913D1}" srcOrd="0" destOrd="0" presId="urn:microsoft.com/office/officeart/2005/8/layout/process3"/>
    <dgm:cxn modelId="{81B2DC10-53C4-49A6-B767-93DCD1827098}" type="presParOf" srcId="{114737A2-26E1-42F4-84A1-93EFE0EB2C21}" destId="{451F0ED5-EE76-4513-9B53-34147F0C5E08}" srcOrd="2" destOrd="0" presId="urn:microsoft.com/office/officeart/2005/8/layout/process3"/>
    <dgm:cxn modelId="{65F6DB3B-C7CB-453E-A758-E8FF7C8944AB}" type="presParOf" srcId="{451F0ED5-EE76-4513-9B53-34147F0C5E08}" destId="{7BD6694E-A922-46DB-AC99-FC1207493CEB}" srcOrd="0" destOrd="0" presId="urn:microsoft.com/office/officeart/2005/8/layout/process3"/>
    <dgm:cxn modelId="{8B2FE394-EB95-4FF9-ADBC-E2736F9EDF23}" type="presParOf" srcId="{451F0ED5-EE76-4513-9B53-34147F0C5E08}" destId="{F5AD6C81-4F7A-479C-A5F7-BF942D201AAF}" srcOrd="1" destOrd="0" presId="urn:microsoft.com/office/officeart/2005/8/layout/process3"/>
    <dgm:cxn modelId="{EB51A8CB-2386-4E9C-B87C-E81A0B70B590}" type="presParOf" srcId="{451F0ED5-EE76-4513-9B53-34147F0C5E08}" destId="{4C1AF0B8-F25C-4E8C-9AE3-2B1B0935ABC1}" srcOrd="2" destOrd="0" presId="urn:microsoft.com/office/officeart/2005/8/layout/process3"/>
    <dgm:cxn modelId="{0C297F83-EEE0-42F0-9539-7E1320E40284}" type="presParOf" srcId="{114737A2-26E1-42F4-84A1-93EFE0EB2C21}" destId="{F69FB6DA-F143-493C-824E-53A21F275074}" srcOrd="3" destOrd="0" presId="urn:microsoft.com/office/officeart/2005/8/layout/process3"/>
    <dgm:cxn modelId="{EC1BA9B2-B6A9-4129-8DE8-FCD15B0D464C}" type="presParOf" srcId="{F69FB6DA-F143-493C-824E-53A21F275074}" destId="{9A7B02FA-B053-4809-8236-2D6C64602D0D}" srcOrd="0" destOrd="0" presId="urn:microsoft.com/office/officeart/2005/8/layout/process3"/>
    <dgm:cxn modelId="{4D21E4DC-2D6B-4469-BA86-DC4A65E64AF3}" type="presParOf" srcId="{114737A2-26E1-42F4-84A1-93EFE0EB2C21}" destId="{DF05DC35-D7C3-4A76-875D-35FD4B065974}" srcOrd="4" destOrd="0" presId="urn:microsoft.com/office/officeart/2005/8/layout/process3"/>
    <dgm:cxn modelId="{8844C8BD-F2D0-47F6-ABC4-A71CD9E9165F}" type="presParOf" srcId="{DF05DC35-D7C3-4A76-875D-35FD4B065974}" destId="{E8A2FCFC-D99B-43E3-B1FF-C5F987790A99}" srcOrd="0" destOrd="0" presId="urn:microsoft.com/office/officeart/2005/8/layout/process3"/>
    <dgm:cxn modelId="{CE36AE7F-AE42-477E-9F8E-D77C6BF8C341}" type="presParOf" srcId="{DF05DC35-D7C3-4A76-875D-35FD4B065974}" destId="{C5BF3E9B-EC4A-4DCC-83B1-3A52698A843C}" srcOrd="1" destOrd="0" presId="urn:microsoft.com/office/officeart/2005/8/layout/process3"/>
    <dgm:cxn modelId="{09327DCE-B6C7-44AE-988B-3C734F8DBB1C}" type="presParOf" srcId="{DF05DC35-D7C3-4A76-875D-35FD4B065974}" destId="{41654B8C-515A-48CF-B4AE-8F358F6E2D35}" srcOrd="2" destOrd="0" presId="urn:microsoft.com/office/officeart/2005/8/layout/process3"/>
    <dgm:cxn modelId="{ACBB45EA-173F-4627-A974-F63D0503C5EB}" type="presParOf" srcId="{114737A2-26E1-42F4-84A1-93EFE0EB2C21}" destId="{CEDB1E25-9186-4340-B242-8352E3A4D54B}" srcOrd="5" destOrd="0" presId="urn:microsoft.com/office/officeart/2005/8/layout/process3"/>
    <dgm:cxn modelId="{2105A54B-5E43-4183-A037-2CA1405EAC8B}" type="presParOf" srcId="{CEDB1E25-9186-4340-B242-8352E3A4D54B}" destId="{F3B20DF3-723F-45AD-8044-66AB0FB84107}" srcOrd="0" destOrd="0" presId="urn:microsoft.com/office/officeart/2005/8/layout/process3"/>
    <dgm:cxn modelId="{A5FE2BCC-96BD-4D13-9753-33C0E72612B0}" type="presParOf" srcId="{114737A2-26E1-42F4-84A1-93EFE0EB2C21}" destId="{D0478505-F834-4FAB-A4E8-8014A92796AE}" srcOrd="6" destOrd="0" presId="urn:microsoft.com/office/officeart/2005/8/layout/process3"/>
    <dgm:cxn modelId="{4A3089FB-C828-43C7-A8E0-B6268D60615C}" type="presParOf" srcId="{D0478505-F834-4FAB-A4E8-8014A92796AE}" destId="{BDE241C9-25BF-4906-99B8-C9622E41C038}" srcOrd="0" destOrd="0" presId="urn:microsoft.com/office/officeart/2005/8/layout/process3"/>
    <dgm:cxn modelId="{95BB092B-D5C8-4C06-8C1F-991228442B85}" type="presParOf" srcId="{D0478505-F834-4FAB-A4E8-8014A92796AE}" destId="{583C43D4-F718-4564-AFA2-21DD14AF6B7D}" srcOrd="1" destOrd="0" presId="urn:microsoft.com/office/officeart/2005/8/layout/process3"/>
    <dgm:cxn modelId="{918CA066-97F4-4060-9CF7-FC74E93FD43F}" type="presParOf" srcId="{D0478505-F834-4FAB-A4E8-8014A92796AE}" destId="{9165ED0F-89F3-4F55-B1CE-E0F9A7FA60F8}" srcOrd="2" destOrd="0" presId="urn:microsoft.com/office/officeart/2005/8/layout/process3"/>
    <dgm:cxn modelId="{0129D411-85E6-418B-AF57-D448470B3840}" type="presParOf" srcId="{114737A2-26E1-42F4-84A1-93EFE0EB2C21}" destId="{15ED0FCD-4D7F-43BB-BF07-35902F5CEB96}" srcOrd="7" destOrd="0" presId="urn:microsoft.com/office/officeart/2005/8/layout/process3"/>
    <dgm:cxn modelId="{6E9A2859-E877-41B4-9685-6A770CEED641}" type="presParOf" srcId="{15ED0FCD-4D7F-43BB-BF07-35902F5CEB96}" destId="{1CBFB207-74B6-4D7D-98E7-B25947FBD82A}" srcOrd="0" destOrd="0" presId="urn:microsoft.com/office/officeart/2005/8/layout/process3"/>
    <dgm:cxn modelId="{7AC987AF-249F-4364-A21E-3FC74C9CEBC0}" type="presParOf" srcId="{114737A2-26E1-42F4-84A1-93EFE0EB2C21}" destId="{36554993-5385-460E-B156-1CC1F9855BBE}" srcOrd="8" destOrd="0" presId="urn:microsoft.com/office/officeart/2005/8/layout/process3"/>
    <dgm:cxn modelId="{52513577-BE0B-4D71-8912-40731DF4D403}" type="presParOf" srcId="{36554993-5385-460E-B156-1CC1F9855BBE}" destId="{967AEC12-E18F-4170-9342-346DA42486C2}" srcOrd="0" destOrd="0" presId="urn:microsoft.com/office/officeart/2005/8/layout/process3"/>
    <dgm:cxn modelId="{EB9A0ABE-B6F9-4AA4-B11D-23DC1B06E24F}" type="presParOf" srcId="{36554993-5385-460E-B156-1CC1F9855BBE}" destId="{DA6E5BB2-0E11-4762-8273-831842023B85}" srcOrd="1" destOrd="0" presId="urn:microsoft.com/office/officeart/2005/8/layout/process3"/>
    <dgm:cxn modelId="{7B23990C-3D6B-4138-82B0-E00965F8B24C}" type="presParOf" srcId="{36554993-5385-460E-B156-1CC1F9855BBE}" destId="{C550A82F-7F7F-49FF-BFE0-9D4566BFED44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CE91AD-BBAC-4283-8D7B-297C6903B11F}">
      <dsp:nvSpPr>
        <dsp:cNvPr id="0" name=""/>
        <dsp:cNvSpPr/>
      </dsp:nvSpPr>
      <dsp:spPr>
        <a:xfrm>
          <a:off x="4715" y="1934208"/>
          <a:ext cx="1063982" cy="4320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3810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kern="1200" dirty="0"/>
            <a:t>September</a:t>
          </a:r>
        </a:p>
      </dsp:txBody>
      <dsp:txXfrm>
        <a:off x="4715" y="1934208"/>
        <a:ext cx="1063982" cy="288000"/>
      </dsp:txXfrm>
    </dsp:sp>
    <dsp:sp modelId="{6D7FCF05-13D4-4DC0-9A32-95E745C0FAB7}">
      <dsp:nvSpPr>
        <dsp:cNvPr id="0" name=""/>
        <dsp:cNvSpPr/>
      </dsp:nvSpPr>
      <dsp:spPr>
        <a:xfrm>
          <a:off x="222639" y="2222208"/>
          <a:ext cx="1063982" cy="12622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000" kern="1200" dirty="0"/>
            <a:t>Date &amp; venue confirmed and communicated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000" kern="1200" dirty="0"/>
            <a:t>Save the date shared internally and externally</a:t>
          </a:r>
        </a:p>
      </dsp:txBody>
      <dsp:txXfrm>
        <a:off x="253802" y="2253371"/>
        <a:ext cx="1001656" cy="1199924"/>
      </dsp:txXfrm>
    </dsp:sp>
    <dsp:sp modelId="{546A8C2B-75DC-43B0-9A4F-E8C426806C30}">
      <dsp:nvSpPr>
        <dsp:cNvPr id="0" name=""/>
        <dsp:cNvSpPr/>
      </dsp:nvSpPr>
      <dsp:spPr>
        <a:xfrm>
          <a:off x="1229993" y="1945758"/>
          <a:ext cx="341947" cy="26490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800" kern="1200"/>
        </a:p>
      </dsp:txBody>
      <dsp:txXfrm>
        <a:off x="1229993" y="1998738"/>
        <a:ext cx="262477" cy="158940"/>
      </dsp:txXfrm>
    </dsp:sp>
    <dsp:sp modelId="{F5AD6C81-4F7A-479C-A5F7-BF942D201AAF}">
      <dsp:nvSpPr>
        <dsp:cNvPr id="0" name=""/>
        <dsp:cNvSpPr/>
      </dsp:nvSpPr>
      <dsp:spPr>
        <a:xfrm>
          <a:off x="1713881" y="1934208"/>
          <a:ext cx="1063982" cy="4320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3810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kern="1200" dirty="0"/>
            <a:t>October</a:t>
          </a:r>
        </a:p>
      </dsp:txBody>
      <dsp:txXfrm>
        <a:off x="1713881" y="1934208"/>
        <a:ext cx="1063982" cy="288000"/>
      </dsp:txXfrm>
    </dsp:sp>
    <dsp:sp modelId="{4C1AF0B8-F25C-4E8C-9AE3-2B1B0935ABC1}">
      <dsp:nvSpPr>
        <dsp:cNvPr id="0" name=""/>
        <dsp:cNvSpPr/>
      </dsp:nvSpPr>
      <dsp:spPr>
        <a:xfrm>
          <a:off x="1931805" y="2222208"/>
          <a:ext cx="1063982" cy="12622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000" kern="1200" dirty="0"/>
            <a:t>Confirm  invite creative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000" kern="1200" dirty="0"/>
            <a:t>Confirm event theme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000" kern="1200" dirty="0"/>
            <a:t>Draft agenda shared internally</a:t>
          </a:r>
        </a:p>
      </dsp:txBody>
      <dsp:txXfrm>
        <a:off x="1962968" y="2253371"/>
        <a:ext cx="1001656" cy="1199924"/>
      </dsp:txXfrm>
    </dsp:sp>
    <dsp:sp modelId="{F69FB6DA-F143-493C-824E-53A21F275074}">
      <dsp:nvSpPr>
        <dsp:cNvPr id="0" name=""/>
        <dsp:cNvSpPr/>
      </dsp:nvSpPr>
      <dsp:spPr>
        <a:xfrm>
          <a:off x="2939159" y="1945758"/>
          <a:ext cx="341947" cy="26490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800" kern="1200"/>
        </a:p>
      </dsp:txBody>
      <dsp:txXfrm>
        <a:off x="2939159" y="1998738"/>
        <a:ext cx="262477" cy="158940"/>
      </dsp:txXfrm>
    </dsp:sp>
    <dsp:sp modelId="{C5BF3E9B-EC4A-4DCC-83B1-3A52698A843C}">
      <dsp:nvSpPr>
        <dsp:cNvPr id="0" name=""/>
        <dsp:cNvSpPr/>
      </dsp:nvSpPr>
      <dsp:spPr>
        <a:xfrm>
          <a:off x="3423046" y="1934208"/>
          <a:ext cx="1063982" cy="4320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3810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kern="1200" dirty="0"/>
            <a:t>November</a:t>
          </a:r>
        </a:p>
      </dsp:txBody>
      <dsp:txXfrm>
        <a:off x="3423046" y="1934208"/>
        <a:ext cx="1063982" cy="288000"/>
      </dsp:txXfrm>
    </dsp:sp>
    <dsp:sp modelId="{41654B8C-515A-48CF-B4AE-8F358F6E2D35}">
      <dsp:nvSpPr>
        <dsp:cNvPr id="0" name=""/>
        <dsp:cNvSpPr/>
      </dsp:nvSpPr>
      <dsp:spPr>
        <a:xfrm>
          <a:off x="3640970" y="2222208"/>
          <a:ext cx="1063982" cy="12622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000" kern="1200" dirty="0"/>
            <a:t>Agenda finalised </a:t>
          </a:r>
          <a:r>
            <a:rPr lang="en-GB" sz="1000" kern="1200" dirty="0" err="1"/>
            <a:t>inc</a:t>
          </a:r>
          <a:r>
            <a:rPr lang="en-GB" sz="1000" kern="1200" dirty="0"/>
            <a:t> breakouts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000" kern="1200" dirty="0"/>
            <a:t>Invite sent out to clients</a:t>
          </a:r>
        </a:p>
      </dsp:txBody>
      <dsp:txXfrm>
        <a:off x="3672133" y="2253371"/>
        <a:ext cx="1001656" cy="1199924"/>
      </dsp:txXfrm>
    </dsp:sp>
    <dsp:sp modelId="{CEDB1E25-9186-4340-B242-8352E3A4D54B}">
      <dsp:nvSpPr>
        <dsp:cNvPr id="0" name=""/>
        <dsp:cNvSpPr/>
      </dsp:nvSpPr>
      <dsp:spPr>
        <a:xfrm>
          <a:off x="4648324" y="1945758"/>
          <a:ext cx="341947" cy="26490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800" kern="1200"/>
        </a:p>
      </dsp:txBody>
      <dsp:txXfrm>
        <a:off x="4648324" y="1998738"/>
        <a:ext cx="262477" cy="158940"/>
      </dsp:txXfrm>
    </dsp:sp>
    <dsp:sp modelId="{583C43D4-F718-4564-AFA2-21DD14AF6B7D}">
      <dsp:nvSpPr>
        <dsp:cNvPr id="0" name=""/>
        <dsp:cNvSpPr/>
      </dsp:nvSpPr>
      <dsp:spPr>
        <a:xfrm>
          <a:off x="5132212" y="1934208"/>
          <a:ext cx="1063982" cy="4320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3810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kern="1200" dirty="0"/>
            <a:t>December</a:t>
          </a:r>
        </a:p>
      </dsp:txBody>
      <dsp:txXfrm>
        <a:off x="5132212" y="1934208"/>
        <a:ext cx="1063982" cy="288000"/>
      </dsp:txXfrm>
    </dsp:sp>
    <dsp:sp modelId="{9165ED0F-89F3-4F55-B1CE-E0F9A7FA60F8}">
      <dsp:nvSpPr>
        <dsp:cNvPr id="0" name=""/>
        <dsp:cNvSpPr/>
      </dsp:nvSpPr>
      <dsp:spPr>
        <a:xfrm>
          <a:off x="5350136" y="2222208"/>
          <a:ext cx="1063982" cy="12622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000" kern="1200" dirty="0"/>
            <a:t>Creative look and feel </a:t>
          </a:r>
          <a:r>
            <a:rPr lang="en-GB" sz="1000" kern="1200" dirty="0" err="1"/>
            <a:t>inc</a:t>
          </a:r>
          <a:r>
            <a:rPr lang="en-GB" sz="1000" kern="1200" dirty="0"/>
            <a:t> branding finalised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000" kern="1200" dirty="0"/>
            <a:t>Content sessions</a:t>
          </a:r>
        </a:p>
      </dsp:txBody>
      <dsp:txXfrm>
        <a:off x="5381299" y="2253371"/>
        <a:ext cx="1001656" cy="1199924"/>
      </dsp:txXfrm>
    </dsp:sp>
    <dsp:sp modelId="{15ED0FCD-4D7F-43BB-BF07-35902F5CEB96}">
      <dsp:nvSpPr>
        <dsp:cNvPr id="0" name=""/>
        <dsp:cNvSpPr/>
      </dsp:nvSpPr>
      <dsp:spPr>
        <a:xfrm>
          <a:off x="6357490" y="1945758"/>
          <a:ext cx="341947" cy="26490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800" kern="1200"/>
        </a:p>
      </dsp:txBody>
      <dsp:txXfrm>
        <a:off x="6357490" y="1998738"/>
        <a:ext cx="262477" cy="158940"/>
      </dsp:txXfrm>
    </dsp:sp>
    <dsp:sp modelId="{DA6E5BB2-0E11-4762-8273-831842023B85}">
      <dsp:nvSpPr>
        <dsp:cNvPr id="0" name=""/>
        <dsp:cNvSpPr/>
      </dsp:nvSpPr>
      <dsp:spPr>
        <a:xfrm>
          <a:off x="6841378" y="1934208"/>
          <a:ext cx="1063982" cy="4320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3810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kern="1200" dirty="0"/>
            <a:t>January</a:t>
          </a:r>
        </a:p>
      </dsp:txBody>
      <dsp:txXfrm>
        <a:off x="6841378" y="1934208"/>
        <a:ext cx="1063982" cy="288000"/>
      </dsp:txXfrm>
    </dsp:sp>
    <dsp:sp modelId="{C550A82F-7F7F-49FF-BFE0-9D4566BFED44}">
      <dsp:nvSpPr>
        <dsp:cNvPr id="0" name=""/>
        <dsp:cNvSpPr/>
      </dsp:nvSpPr>
      <dsp:spPr>
        <a:xfrm>
          <a:off x="7059302" y="2222208"/>
          <a:ext cx="1063982" cy="12622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000" kern="1200" dirty="0"/>
            <a:t>Presentations finalised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000" kern="1200" dirty="0"/>
            <a:t>Joining instructions shared with clients</a:t>
          </a:r>
        </a:p>
      </dsp:txBody>
      <dsp:txXfrm>
        <a:off x="7090465" y="2253371"/>
        <a:ext cx="1001656" cy="119992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C887CF-4514-4B5C-9B3C-CB2E890B602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847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5A69D7-C770-4971-8CB8-87C9DA0B77D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32450" y="0"/>
            <a:ext cx="4310063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0A4C0B-5BC1-44D9-BF97-FB0E8FC27033}" type="datetimeFigureOut">
              <a:rPr lang="en-GB" smtClean="0"/>
              <a:t>19/09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181350-C338-4BA2-9C34-DBE151721DF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464300"/>
            <a:ext cx="4308475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FA4AB-0CD6-4A1D-AC1C-E767110DA0F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32450" y="6464300"/>
            <a:ext cx="4310063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A10F78-B56F-492B-9F6C-1DCD209B83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29667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9110" cy="3414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32689" y="0"/>
            <a:ext cx="4309110" cy="3414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017502-9A00-BB4B-A6E6-4D4339910C16}" type="datetimeFigureOut">
              <a:rPr lang="en-US" smtClean="0"/>
              <a:t>9/19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30525" y="850900"/>
            <a:ext cx="4083050" cy="2297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4411" y="3275201"/>
            <a:ext cx="7955279" cy="267971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464152"/>
            <a:ext cx="4309110" cy="3414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32689" y="6464152"/>
            <a:ext cx="4309110" cy="3414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CC9970-D69C-8248-AC79-C4472573E2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7270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C9970-D69C-8248-AC79-C4472573E28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5424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0.svg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2.png"/><Relationship Id="rId4" Type="http://schemas.openxmlformats.org/officeDocument/2006/relationships/image" Target="../media/image3.sv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2.png"/><Relationship Id="rId4" Type="http://schemas.openxmlformats.org/officeDocument/2006/relationships/image" Target="../media/image3.svg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0.sv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2.png"/><Relationship Id="rId4" Type="http://schemas.openxmlformats.org/officeDocument/2006/relationships/image" Target="../media/image3.sv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2.png"/><Relationship Id="rId4" Type="http://schemas.openxmlformats.org/officeDocument/2006/relationships/image" Target="../media/image3.svg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eal">
    <p:bg>
      <p:bgPr>
        <a:solidFill>
          <a:srgbClr val="055A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9A3BDBFC-35BF-C640-A95A-DBE6DEE579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4400" y="4227680"/>
            <a:ext cx="5919537" cy="438582"/>
          </a:xfrm>
        </p:spPr>
        <p:txBody>
          <a:bodyPr wrap="square">
            <a:spAutoFit/>
          </a:bodyPr>
          <a:lstStyle>
            <a:lvl1pPr marL="0" indent="0" algn="l"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Click to edit presentation subtitl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71540E4-5E43-3445-9361-342BABDD7B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0" y="2508350"/>
            <a:ext cx="5919537" cy="1590307"/>
          </a:xfrm>
        </p:spPr>
        <p:txBody>
          <a:bodyPr>
            <a:spAutoFit/>
          </a:bodyPr>
          <a:lstStyle>
            <a:lvl1pPr>
              <a:lnSpc>
                <a:spcPts val="5700"/>
              </a:lnSpc>
              <a:defRPr sz="5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noProof="0" dirty="0"/>
              <a:t>Click to edit presentation tit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CF3CF69-76EA-4060-BE07-7A302777A3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5878800"/>
            <a:ext cx="9731738" cy="417600"/>
          </a:xfrm>
        </p:spPr>
        <p:txBody>
          <a:bodyPr tIns="0" rIns="0" bIns="0" anchor="b" anchorCtr="0"/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For Investment Professionals only (14pt Calibri Bold in Teal or White – Multiple 0.9 line spacing with 10 point space before)</a:t>
            </a:r>
          </a:p>
        </p:txBody>
      </p:sp>
      <p:pic>
        <p:nvPicPr>
          <p:cNvPr id="6" name="Picture 5" hidden="1">
            <a:extLst>
              <a:ext uri="{FF2B5EF4-FFF2-40B4-BE49-F238E27FC236}">
                <a16:creationId xmlns:a16="http://schemas.microsoft.com/office/drawing/2014/main" id="{D9DBA4B8-E640-4DF4-8BBD-874ADA652B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801622" y="2602800"/>
            <a:ext cx="2357096" cy="1211960"/>
          </a:xfrm>
          <a:prstGeom prst="rect">
            <a:avLst/>
          </a:prstGeom>
        </p:spPr>
      </p:pic>
      <p:pic>
        <p:nvPicPr>
          <p:cNvPr id="15" name="Graphic 14" hidden="1">
            <a:extLst>
              <a:ext uri="{FF2B5EF4-FFF2-40B4-BE49-F238E27FC236}">
                <a16:creationId xmlns:a16="http://schemas.microsoft.com/office/drawing/2014/main" id="{88B8684B-14A5-4142-AB81-86C09E18199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0250" y="2611354"/>
            <a:ext cx="3560400" cy="1294691"/>
          </a:xfrm>
          <a:prstGeom prst="rect">
            <a:avLst/>
          </a:prstGeom>
        </p:spPr>
      </p:pic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1129525-E91D-485C-8ECF-49A4B00278E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8618" y="2691606"/>
            <a:ext cx="1742401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355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2" userDrawn="1">
          <p15:clr>
            <a:srgbClr val="FBAE40"/>
          </p15:clr>
        </p15:guide>
        <p15:guide id="2" orient="horz" pos="23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52310A-30EB-B54A-B6E7-17AD665FB2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001" y="525102"/>
            <a:ext cx="11471638" cy="5618524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1000"/>
              </a:spcBef>
              <a:buNone/>
              <a:defRPr sz="1200">
                <a:solidFill>
                  <a:schemeClr val="tx1"/>
                </a:solidFill>
              </a:defRPr>
            </a:lvl2pPr>
            <a:lvl3pPr marL="0">
              <a:defRPr sz="1000">
                <a:solidFill>
                  <a:schemeClr val="tx1"/>
                </a:solidFill>
              </a:defRPr>
            </a:lvl3pPr>
            <a:lvl4pPr marL="360000" indent="-180975">
              <a:defRPr>
                <a:solidFill>
                  <a:schemeClr val="tx1"/>
                </a:solidFill>
              </a:defRPr>
            </a:lvl4pPr>
            <a:lvl5pPr marL="540000" indent="-180000">
              <a:spcBef>
                <a:spcPts val="70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70DCC4-1401-574B-A0FD-9B3028D63F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Footer Text here if required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8AF5F0-9FD3-D54B-A46A-6FBD2BBC4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674AF5F-D827-433F-B409-7EAB5EA9E11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903"/>
            <a:ext cx="9547225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1397A151-7FEF-448A-8A36-83583A4E7E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5244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 userDrawn="1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Left Hand Subtitl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 noProof="0"/>
              <a:t>Click to edit title of slid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BBD698-77A6-AD4C-890D-FCF16F15E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15063" y="1231199"/>
            <a:ext cx="5616574" cy="4914000"/>
          </a:xfrm>
          <a:solidFill>
            <a:srgbClr val="DDE0E3"/>
          </a:solidFill>
        </p:spPr>
        <p:txBody>
          <a:bodyPr lIns="144000" tIns="144000" rIns="144000" b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  <a:endParaRPr lang="en-GB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24B0CF9-8601-4195-AE40-924B298650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0001" y="1742249"/>
            <a:ext cx="5648688" cy="440137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3B8CACC-D0BE-40FC-A135-8D044B94E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63" y="1231200"/>
            <a:ext cx="5648325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11A2CAAF-8A41-4EB9-BE1B-E6644B48E06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E9E4EE6-9531-43E0-8942-A6B106043B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2CAE7E41-6D9C-4CF4-AF6B-22F9F2BC4A6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66822428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Keypoint &amp; Gre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 noProof="0"/>
              <a:t>Click to edit title of slid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BBD698-77A6-AD4C-890D-FCF16F15E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15063" y="1232649"/>
            <a:ext cx="5616574" cy="4914000"/>
          </a:xfrm>
          <a:solidFill>
            <a:srgbClr val="DDE0E3"/>
          </a:solidFill>
        </p:spPr>
        <p:txBody>
          <a:bodyPr lIns="144000" tIns="144000" rIns="144000" b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24B0CF9-8601-4195-AE40-924B298650E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60000" y="1751748"/>
            <a:ext cx="5648688" cy="648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3B8CACC-D0BE-40FC-A135-8D044B94E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232650"/>
            <a:ext cx="5648325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C0C71DC-89F7-4588-8AA4-D020FC9D061A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60000" y="2999885"/>
            <a:ext cx="5648688" cy="648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C8DF0E9-B94A-414E-9825-94933E3AD0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2484227"/>
            <a:ext cx="5648325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8B3B1BD-2F40-494B-A10A-17F6270719C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60000" y="4248022"/>
            <a:ext cx="5648688" cy="648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98F1247-7E81-4AFE-972C-0325833ADE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3735804"/>
            <a:ext cx="5648325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288F4B-4B0C-4E92-82A7-10C900D13DE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360000" y="5496158"/>
            <a:ext cx="5648688" cy="648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EE074E9-2CB0-447E-A5D6-065F8872C3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4987382"/>
            <a:ext cx="5648325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4CC3814-D3AB-40B6-A189-2C666B20B21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3A67B600-A102-4C68-9F6A-21CE571624BA}"/>
              </a:ext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71754582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231200"/>
            <a:ext cx="114712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3913200"/>
            <a:ext cx="114712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60000" y="3686175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7951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0748150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orizontal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731289"/>
            <a:ext cx="11472920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4415629"/>
            <a:ext cx="11470462" cy="1727996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57188" y="368549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4681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0CAC169-C1E3-4B6E-B9C4-CCC3F0D838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8" y="1231976"/>
            <a:ext cx="11470463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9D1CAA8-DAF0-48E8-BAAF-687A092134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3913147"/>
            <a:ext cx="11468006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6253512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eft 2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228725"/>
            <a:ext cx="5487575" cy="4912519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228725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3913182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05"/>
            <a:ext cx="0" cy="4910139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345995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eft 2 Right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730419"/>
            <a:ext cx="5487575" cy="4413206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730419"/>
            <a:ext cx="5487575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4412845"/>
            <a:ext cx="5487575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4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7138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0CAC169-C1E3-4B6E-B9C4-CCC3F0D838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9" y="1231106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59885671-02FB-434A-8C3A-CE8FD23710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44062" y="1231106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B8AEE985-2693-45D0-A07C-C63EBA9443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44062" y="3912744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30087538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eft 1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231200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231199"/>
            <a:ext cx="5487575" cy="4914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3913182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4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0248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6899867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eft 1 Right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731210"/>
            <a:ext cx="5487575" cy="1729539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731211"/>
            <a:ext cx="5487575" cy="4412414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4413247"/>
            <a:ext cx="5487575" cy="1729539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896"/>
            <a:ext cx="0" cy="4914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8724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0CAC169-C1E3-4B6E-B9C4-CCC3F0D838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9" y="1231898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59885671-02FB-434A-8C3A-CE8FD23710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44062" y="1231898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9D1CAA8-DAF0-48E8-BAAF-687A092134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3913147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943597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op 2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231200"/>
            <a:ext cx="114712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3913182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3913182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60000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7951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726183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op 2 Bottom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731210"/>
            <a:ext cx="11471638" cy="1729539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4413248"/>
            <a:ext cx="5487575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4413248"/>
            <a:ext cx="5487575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60000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7072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0CAC169-C1E3-4B6E-B9C4-CCC3F0D838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8" y="1231898"/>
            <a:ext cx="11470463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9D1CAA8-DAF0-48E8-BAAF-687A092134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3913147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B8AEE985-2693-45D0-A07C-C63EBA9443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44062" y="3913147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17706904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529252-766F-3141-B54F-24406F7A9B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itle of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52310A-30EB-B54A-B6E7-17AD665FB2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001" y="1734085"/>
            <a:ext cx="11471638" cy="44095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70DCC4-1401-574B-A0FD-9B3028D63F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/>
              <a:t>Insert Footer Text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8AF5F0-9FD3-D54B-A46A-6FBD2BBC4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485F0C-262B-514B-A388-FC971EB0CB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230085"/>
            <a:ext cx="11471638" cy="432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AD6D496-D859-48A2-BC86-85DD118ABB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B64B5A8-9F79-4E49-9A2A-2AF63B9C2B2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5577FC4-C070-4864-B364-59B300F8CC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69865129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p 1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231200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231200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3913183"/>
            <a:ext cx="11471275" cy="2230441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60000" y="3686175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7951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996203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p 1 Bottom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729700"/>
            <a:ext cx="5487575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729700"/>
            <a:ext cx="5487575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4414041"/>
            <a:ext cx="11470462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60000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4681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0CAC169-C1E3-4B6E-B9C4-CCC3F0D838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9" y="1230387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59885671-02FB-434A-8C3A-CE8FD23710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44062" y="1230387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9D1CAA8-DAF0-48E8-BAAF-687A092134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3913940"/>
            <a:ext cx="11468006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31560031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rds Top 1/3 rd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231199"/>
            <a:ext cx="11471275" cy="28332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4516438"/>
            <a:ext cx="5487575" cy="1628744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4516438"/>
            <a:ext cx="5487575" cy="1628744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7951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BA9D6BF-1359-4C9B-B044-B2C48BB0536E}"/>
              </a:ext>
            </a:extLst>
          </p:cNvPr>
          <p:cNvCxnSpPr>
            <a:cxnSpLocks/>
          </p:cNvCxnSpPr>
          <p:nvPr userDrawn="1"/>
        </p:nvCxnSpPr>
        <p:spPr>
          <a:xfrm flipH="1">
            <a:off x="360000" y="4292983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91225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rds Top 1/3 rd Bottom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731210"/>
            <a:ext cx="11471638" cy="23296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5022848"/>
            <a:ext cx="5487575" cy="1120777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5022848"/>
            <a:ext cx="5487575" cy="1120777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7072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0CAC169-C1E3-4B6E-B9C4-CCC3F0D838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8" y="1231898"/>
            <a:ext cx="11470463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9D1CAA8-DAF0-48E8-BAAF-687A092134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4522747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B8AEE985-2693-45D0-A07C-C63EBA9443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44062" y="4522747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ABFD90A-EBBB-4CC4-8C84-F8FA49A2299B}"/>
              </a:ext>
            </a:extLst>
          </p:cNvPr>
          <p:cNvCxnSpPr>
            <a:cxnSpLocks/>
          </p:cNvCxnSpPr>
          <p:nvPr userDrawn="1"/>
        </p:nvCxnSpPr>
        <p:spPr>
          <a:xfrm flipH="1">
            <a:off x="360000" y="4292983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19964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rd Top 2/3 rds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231199"/>
            <a:ext cx="5487575" cy="1619971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231199"/>
            <a:ext cx="5487575" cy="1619971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3300618"/>
            <a:ext cx="11471275" cy="2843006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7951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E5E8724-5F30-4915-AD19-8B66BAF5625C}"/>
              </a:ext>
            </a:extLst>
          </p:cNvPr>
          <p:cNvCxnSpPr>
            <a:cxnSpLocks/>
          </p:cNvCxnSpPr>
          <p:nvPr userDrawn="1"/>
        </p:nvCxnSpPr>
        <p:spPr>
          <a:xfrm flipH="1">
            <a:off x="360000" y="3073851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59493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rd Top 2/3 rds Bottom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729700"/>
            <a:ext cx="5487575" cy="1118597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729700"/>
            <a:ext cx="5487575" cy="1118597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3803577"/>
            <a:ext cx="11470462" cy="2340048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4681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0CAC169-C1E3-4B6E-B9C4-CCC3F0D838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9" y="1230387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59885671-02FB-434A-8C3A-CE8FD23710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44062" y="1230387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9D1CAA8-DAF0-48E8-BAAF-687A092134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3303476"/>
            <a:ext cx="11468006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F4430C3-B1A9-4269-9205-4D9BDED25F63}"/>
              </a:ext>
            </a:extLst>
          </p:cNvPr>
          <p:cNvCxnSpPr>
            <a:cxnSpLocks/>
          </p:cNvCxnSpPr>
          <p:nvPr userDrawn="1"/>
        </p:nvCxnSpPr>
        <p:spPr>
          <a:xfrm flipH="1">
            <a:off x="360000" y="3073851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37006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justable Content No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231200"/>
            <a:ext cx="114712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3913182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3913182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7951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8874890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itle of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D7B397-8663-3A48-AD9C-349EE7D16D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0001" y="1231199"/>
            <a:ext cx="3683362" cy="49124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BBD698-77A6-AD4C-890D-FCF16F15E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59263" y="1231199"/>
            <a:ext cx="3702050" cy="49124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E797AEE-A197-6A4B-98E2-E325EA7EB7B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161338" y="1231199"/>
            <a:ext cx="3670300" cy="49124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718C48E-9443-46D0-9679-5073F54D20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224DD5F-CE3E-4484-932C-4A0D42C6CB5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01809E14-E8CF-46D0-825F-53BC1E30B271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06113308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Text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itle of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D7B397-8663-3A48-AD9C-349EE7D16D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0001" y="1730381"/>
            <a:ext cx="3686400" cy="4413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BBD698-77A6-AD4C-890D-FCF16F15E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59263" y="1730381"/>
            <a:ext cx="3686400" cy="4413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E797AEE-A197-6A4B-98E2-E325EA7EB7B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161338" y="1730381"/>
            <a:ext cx="3686400" cy="4413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E25CADC-9B60-5E42-B1E1-43617EB553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231200"/>
            <a:ext cx="3686175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D5C51E5-C313-EF40-95E2-D4DC748DB8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59263" y="1231200"/>
            <a:ext cx="36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77A7BB0-2EAD-2941-BC68-73D75770D4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61338" y="1231200"/>
            <a:ext cx="36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C84AE03A-F5D5-4923-AAE8-13C2A1607B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500720A-DD1E-4A42-9379-2ED122C7ED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A290CE7E-16E4-46AF-81AE-8B048E31A1C5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703823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7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Biograp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D7B397-8663-3A48-AD9C-349EE7D16D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0001" y="2206807"/>
            <a:ext cx="3686400" cy="3935083"/>
          </a:xfrm>
        </p:spPr>
        <p:txBody>
          <a:bodyPr/>
          <a:lstStyle>
            <a:lvl1pPr marL="0" indent="0">
              <a:buNone/>
              <a:defRPr sz="1000"/>
            </a:lvl1pPr>
            <a:lvl2pPr marL="180000">
              <a:defRPr sz="1000"/>
            </a:lvl2pPr>
            <a:lvl3pPr marL="360000">
              <a:defRPr sz="1000"/>
            </a:lvl3pPr>
            <a:lvl4pPr marL="540000">
              <a:defRPr sz="1000"/>
            </a:lvl4pPr>
            <a:lvl5pPr marL="720000"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itle of slid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BBD698-77A6-AD4C-890D-FCF16F15E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59263" y="2206806"/>
            <a:ext cx="3708400" cy="3936820"/>
          </a:xfrm>
        </p:spPr>
        <p:txBody>
          <a:bodyPr/>
          <a:lstStyle>
            <a:lvl1pPr marL="0" indent="0">
              <a:buNone/>
              <a:defRPr sz="1000"/>
            </a:lvl1pPr>
            <a:lvl2pPr marL="180000">
              <a:defRPr sz="1000"/>
            </a:lvl2pPr>
            <a:lvl3pPr marL="360000">
              <a:defRPr sz="1000"/>
            </a:lvl3pPr>
            <a:lvl4pPr marL="540000">
              <a:defRPr sz="1000"/>
            </a:lvl4pPr>
            <a:lvl5pPr marL="720000"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E797AEE-A197-6A4B-98E2-E325EA7EB7B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158957" y="2206806"/>
            <a:ext cx="3673474" cy="3936820"/>
          </a:xfrm>
        </p:spPr>
        <p:txBody>
          <a:bodyPr/>
          <a:lstStyle>
            <a:lvl1pPr marL="0" indent="0">
              <a:buNone/>
              <a:defRPr sz="1000"/>
            </a:lvl1pPr>
            <a:lvl2pPr marL="180000">
              <a:defRPr sz="1000"/>
            </a:lvl2pPr>
            <a:lvl3pPr marL="360000">
              <a:defRPr sz="1000"/>
            </a:lvl3pPr>
            <a:lvl4pPr marL="540000">
              <a:defRPr sz="1000"/>
            </a:lvl4pPr>
            <a:lvl5pPr marL="720000"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C84AE03A-F5D5-4923-AAE8-13C2A1607B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500720A-DD1E-4A42-9379-2ED122C7ED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A290CE7E-16E4-46AF-81AE-8B048E31A1C5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094400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F9BF5E8-B0EC-40E7-AB73-4AFC14267BB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363" y="1231244"/>
            <a:ext cx="720000" cy="9000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D2EDCEEA-4D25-41B2-B6DD-A501ADB2E1B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259263" y="1231244"/>
            <a:ext cx="720000" cy="9000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B0A1A80-46B5-4840-9EAE-A7EDCCF483A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158957" y="1231244"/>
            <a:ext cx="720000" cy="9000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B3EA6BB-43A5-43A4-AEEA-0D555453132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55958" y="1153466"/>
            <a:ext cx="2787406" cy="980316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300"/>
              </a:spcBef>
              <a:buNone/>
              <a:defRPr sz="1600">
                <a:solidFill>
                  <a:schemeClr val="tx2"/>
                </a:solidFill>
              </a:defRPr>
            </a:lvl2pPr>
            <a:lvl3pPr marL="360612" indent="0">
              <a:buNone/>
              <a:defRPr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GB" dirty="0"/>
              <a:t>Insert post here</a:t>
            </a:r>
          </a:p>
          <a:p>
            <a:pPr lvl="1"/>
            <a:r>
              <a:rPr lang="en-GB" dirty="0"/>
              <a:t>(16pt Calibri)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A71935B-5F0B-4F80-9F85-26BA44020D6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0258" y="1153466"/>
            <a:ext cx="2787406" cy="980316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300"/>
              </a:spcBef>
              <a:buNone/>
              <a:defRPr sz="1600">
                <a:solidFill>
                  <a:schemeClr val="tx2"/>
                </a:solidFill>
              </a:defRPr>
            </a:lvl2pPr>
            <a:lvl3pPr marL="360612" indent="0">
              <a:buNone/>
              <a:defRPr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GB" dirty="0"/>
              <a:t>Insert post here</a:t>
            </a:r>
          </a:p>
          <a:p>
            <a:pPr lvl="1"/>
            <a:r>
              <a:rPr lang="en-GB" dirty="0"/>
              <a:t>(16pt Calibri)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73DA40E0-F063-4E10-A27F-CAF01DBF3BF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42645" y="1153466"/>
            <a:ext cx="2787406" cy="980316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300"/>
              </a:spcBef>
              <a:buNone/>
              <a:defRPr sz="1600">
                <a:solidFill>
                  <a:schemeClr val="tx2"/>
                </a:solidFill>
              </a:defRPr>
            </a:lvl2pPr>
            <a:lvl3pPr marL="360612" indent="0">
              <a:buNone/>
              <a:defRPr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GB" dirty="0"/>
              <a:t>Insert post here</a:t>
            </a:r>
          </a:p>
          <a:p>
            <a:pPr lvl="1"/>
            <a:r>
              <a:rPr lang="en-GB" dirty="0"/>
              <a:t>(16pt Calibri)</a:t>
            </a:r>
          </a:p>
        </p:txBody>
      </p:sp>
    </p:spTree>
    <p:extLst>
      <p:ext uri="{BB962C8B-B14F-4D97-AF65-F5344CB8AC3E}">
        <p14:creationId xmlns:p14="http://schemas.microsoft.com/office/powerpoint/2010/main" val="997699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703581-EE46-1C46-AC79-09987CF3C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 dirty="0"/>
              <a:t>Click to edit title of slid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3DE0C0-F9F3-3B4C-BD99-DC2773D3E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E03CC1-BAA6-3043-98F9-B41F6C0F18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250499D5-5F8E-4410-A828-2D55B24074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8161D5D-AA44-4886-A159-A80E62CE45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45F15C5-5A06-46AB-8DF3-3F11B73E255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613310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231200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231200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3913182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3913182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76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57188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8593341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729544"/>
            <a:ext cx="5487575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729544"/>
            <a:ext cx="5487575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4413248"/>
            <a:ext cx="5487575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4413248"/>
            <a:ext cx="5487575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4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57188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8724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0CAC169-C1E3-4B6E-B9C4-CCC3F0D838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9" y="1230231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59885671-02FB-434A-8C3A-CE8FD23710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44062" y="1230231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9D1CAA8-DAF0-48E8-BAAF-687A092134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3913147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B8AEE985-2693-45D0-A07C-C63EBA9443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44062" y="3913147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18557529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 1 Large Pic 1 Content 1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1231900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76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12B9BD-D48C-46DF-B193-FF0A67932F6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60000" y="1231899"/>
            <a:ext cx="5486400" cy="4914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7456D3-ABC1-4A59-A28D-F9E7C5C589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44061" y="3913200"/>
            <a:ext cx="5486400" cy="2232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180000">
              <a:spcBef>
                <a:spcPts val="0"/>
              </a:spcBef>
              <a:spcAft>
                <a:spcPts val="600"/>
              </a:spcAft>
              <a:defRPr sz="1200"/>
            </a:lvl2pPr>
            <a:lvl3pPr marL="360000">
              <a:spcBef>
                <a:spcPts val="0"/>
              </a:spcBef>
              <a:spcAft>
                <a:spcPts val="600"/>
              </a:spcAft>
              <a:defRPr/>
            </a:lvl3pPr>
            <a:lvl4pPr marL="540000">
              <a:spcBef>
                <a:spcPts val="0"/>
              </a:spcBef>
              <a:spcAft>
                <a:spcPts val="600"/>
              </a:spcAft>
              <a:defRPr sz="1200"/>
            </a:lvl4pPr>
            <a:lvl5pPr marL="720000"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27471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 1 Pic 2 Content 1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6C747E35-F1D4-4B8F-949C-46AFC5C389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44062" y="1231899"/>
            <a:ext cx="5486400" cy="2232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180000">
              <a:spcBef>
                <a:spcPts val="0"/>
              </a:spcBef>
              <a:spcAft>
                <a:spcPts val="600"/>
              </a:spcAft>
              <a:defRPr sz="1200"/>
            </a:lvl2pPr>
            <a:lvl3pPr marL="360000">
              <a:spcBef>
                <a:spcPts val="0"/>
              </a:spcBef>
              <a:spcAft>
                <a:spcPts val="600"/>
              </a:spcAft>
              <a:defRPr sz="1200"/>
            </a:lvl3pPr>
            <a:lvl4pPr marL="540000">
              <a:spcBef>
                <a:spcPts val="0"/>
              </a:spcBef>
              <a:spcAft>
                <a:spcPts val="600"/>
              </a:spcAft>
              <a:defRPr sz="1200"/>
            </a:lvl4pPr>
            <a:lvl5pPr marL="720000"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60000" y="3913200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76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57188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12B9BD-D48C-46DF-B193-FF0A67932F6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60000" y="1231900"/>
            <a:ext cx="5486400" cy="22320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FDAB835-5816-49CC-928D-7CED227A8FD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344060" y="3913200"/>
            <a:ext cx="5486400" cy="2232000"/>
          </a:xfrm>
        </p:spPr>
        <p:txBody>
          <a:bodyPr/>
          <a:lstStyle>
            <a:lvl1pPr>
              <a:spcAft>
                <a:spcPts val="600"/>
              </a:spcAft>
              <a:defRPr sz="1400" b="1"/>
            </a:lvl1pPr>
            <a:lvl2pPr>
              <a:spcBef>
                <a:spcPts val="0"/>
              </a:spcBef>
              <a:spcAft>
                <a:spcPts val="600"/>
              </a:spcAft>
              <a:defRPr sz="1200"/>
            </a:lvl2pPr>
            <a:lvl3pPr>
              <a:spcBef>
                <a:spcPts val="0"/>
              </a:spcBef>
              <a:spcAft>
                <a:spcPts val="600"/>
              </a:spcAft>
              <a:defRPr/>
            </a:lvl3pPr>
            <a:lvl4pPr>
              <a:spcBef>
                <a:spcPts val="0"/>
              </a:spcBef>
              <a:spcAft>
                <a:spcPts val="600"/>
              </a:spcAft>
              <a:defRPr sz="1200"/>
            </a:lvl4pPr>
            <a:lvl5pPr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9281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 2 Pic 2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231200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3913182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76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57188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12B9BD-D48C-46DF-B193-FF0A67932F6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60000" y="1231900"/>
            <a:ext cx="5486400" cy="22320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8A5CD86-FDAB-4944-9BA6-9F147317469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0000" y="3913200"/>
            <a:ext cx="5486400" cy="223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01934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 2 Pic 1 Content 1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1231900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76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57188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12B9BD-D48C-46DF-B193-FF0A67932F6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60000" y="1231900"/>
            <a:ext cx="5486400" cy="22320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8A5CD86-FDAB-4944-9BA6-9F147317469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0000" y="3913200"/>
            <a:ext cx="5486400" cy="223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7456D3-ABC1-4A59-A28D-F9E7C5C589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44061" y="3913200"/>
            <a:ext cx="5486400" cy="2232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180000">
              <a:spcBef>
                <a:spcPts val="0"/>
              </a:spcBef>
              <a:spcAft>
                <a:spcPts val="600"/>
              </a:spcAft>
              <a:defRPr sz="1200"/>
            </a:lvl2pPr>
            <a:lvl3pPr marL="360000">
              <a:spcBef>
                <a:spcPts val="0"/>
              </a:spcBef>
              <a:spcAft>
                <a:spcPts val="600"/>
              </a:spcAft>
              <a:defRPr sz="1200"/>
            </a:lvl3pPr>
            <a:lvl4pPr marL="540000">
              <a:spcBef>
                <a:spcPts val="0"/>
              </a:spcBef>
              <a:spcAft>
                <a:spcPts val="600"/>
              </a:spcAft>
              <a:defRPr sz="1200"/>
            </a:lvl4pPr>
            <a:lvl5pPr marL="720000"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43142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 1 Pic 1 Content 1 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60000" y="3913200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76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12B9BD-D48C-46DF-B193-FF0A67932F6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60000" y="1231900"/>
            <a:ext cx="5486400" cy="22320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7456D3-ABC1-4A59-A28D-F9E7C5C589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44061" y="1231900"/>
            <a:ext cx="5486400" cy="4914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180000">
              <a:spcBef>
                <a:spcPts val="0"/>
              </a:spcBef>
              <a:spcAft>
                <a:spcPts val="600"/>
              </a:spcAft>
              <a:defRPr sz="1200"/>
            </a:lvl2pPr>
            <a:lvl3pPr marL="360000">
              <a:spcBef>
                <a:spcPts val="0"/>
              </a:spcBef>
              <a:spcAft>
                <a:spcPts val="600"/>
              </a:spcAft>
              <a:defRPr sz="1200"/>
            </a:lvl3pPr>
            <a:lvl4pPr marL="540000">
              <a:spcBef>
                <a:spcPts val="0"/>
              </a:spcBef>
              <a:spcAft>
                <a:spcPts val="600"/>
              </a:spcAft>
              <a:defRPr sz="1200"/>
            </a:lvl4pPr>
            <a:lvl5pPr marL="720000"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31359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 2 Pic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76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57188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12B9BD-D48C-46DF-B193-FF0A67932F6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60000" y="1231900"/>
            <a:ext cx="5486400" cy="22320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8A5CD86-FDAB-4944-9BA6-9F147317469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0000" y="3913200"/>
            <a:ext cx="5486400" cy="223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7456D3-ABC1-4A59-A28D-F9E7C5C589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44061" y="1231900"/>
            <a:ext cx="5486400" cy="2232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400" b="1"/>
            </a:lvl1pPr>
            <a:lvl2pPr marL="180000">
              <a:spcBef>
                <a:spcPts val="0"/>
              </a:spcBef>
              <a:spcAft>
                <a:spcPts val="600"/>
              </a:spcAft>
              <a:defRPr sz="1200"/>
            </a:lvl2pPr>
            <a:lvl3pPr marL="360000">
              <a:spcBef>
                <a:spcPts val="0"/>
              </a:spcBef>
              <a:spcAft>
                <a:spcPts val="600"/>
              </a:spcAft>
              <a:defRPr sz="1200"/>
            </a:lvl3pPr>
            <a:lvl4pPr marL="540000">
              <a:spcBef>
                <a:spcPts val="0"/>
              </a:spcBef>
              <a:spcAft>
                <a:spcPts val="600"/>
              </a:spcAft>
              <a:defRPr sz="1200"/>
            </a:lvl4pPr>
            <a:lvl5pPr marL="720000"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A26B82E-D4F8-4F50-8D5B-D2C94079A88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43200" y="3913188"/>
            <a:ext cx="5486400" cy="2232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400" b="1"/>
            </a:lvl1pPr>
            <a:lvl2pPr marL="180000">
              <a:spcBef>
                <a:spcPts val="0"/>
              </a:spcBef>
              <a:spcAft>
                <a:spcPts val="600"/>
              </a:spcAft>
              <a:defRPr sz="1200"/>
            </a:lvl2pPr>
            <a:lvl3pPr marL="360000">
              <a:spcBef>
                <a:spcPts val="0"/>
              </a:spcBef>
              <a:spcAft>
                <a:spcPts val="600"/>
              </a:spcAft>
              <a:defRPr sz="1200"/>
            </a:lvl3pPr>
            <a:lvl4pPr marL="540000">
              <a:spcBef>
                <a:spcPts val="0"/>
              </a:spcBef>
              <a:spcAft>
                <a:spcPts val="600"/>
              </a:spcAft>
              <a:defRPr sz="1200"/>
            </a:lvl4pPr>
            <a:lvl5pPr marL="720000"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3976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 3 Pic 1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76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57188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12B9BD-D48C-46DF-B193-FF0A67932F6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60000" y="1231900"/>
            <a:ext cx="5486400" cy="22320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8A5CD86-FDAB-4944-9BA6-9F147317469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0000" y="3913200"/>
            <a:ext cx="5486400" cy="223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7456D3-ABC1-4A59-A28D-F9E7C5C589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44061" y="1231900"/>
            <a:ext cx="5486400" cy="2232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180000">
              <a:spcBef>
                <a:spcPts val="0"/>
              </a:spcBef>
              <a:spcAft>
                <a:spcPts val="600"/>
              </a:spcAft>
              <a:defRPr sz="1200"/>
            </a:lvl2pPr>
            <a:lvl3pPr marL="360000">
              <a:spcBef>
                <a:spcPts val="0"/>
              </a:spcBef>
              <a:spcAft>
                <a:spcPts val="600"/>
              </a:spcAft>
              <a:defRPr sz="1200"/>
            </a:lvl3pPr>
            <a:lvl4pPr marL="540000">
              <a:spcBef>
                <a:spcPts val="0"/>
              </a:spcBef>
              <a:spcAft>
                <a:spcPts val="600"/>
              </a:spcAft>
              <a:defRPr sz="1200"/>
            </a:lvl4pPr>
            <a:lvl5pPr marL="720000"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BC92417-CBDA-42C7-A5DC-80DB9AD4A41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44060" y="3913200"/>
            <a:ext cx="5486400" cy="223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86574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 2 Pic 1 Content 1 Text with Su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628744"/>
            <a:ext cx="5487575" cy="18288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4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57188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8724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0CAC169-C1E3-4B6E-B9C4-CCC3F0D838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9" y="1230231"/>
            <a:ext cx="5486400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59885671-02FB-434A-8C3A-CE8FD23710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44062" y="1230231"/>
            <a:ext cx="5486400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9D1CAA8-DAF0-48E8-BAAF-687A092134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3913147"/>
            <a:ext cx="5486400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B8AEE985-2693-45D0-A07C-C63EBA9443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44062" y="3913147"/>
            <a:ext cx="5486400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3160110-25FB-46E1-A119-46503489C51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60000" y="1628744"/>
            <a:ext cx="54864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748F2C9-9A3E-477A-8621-0905E37EAA1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00" y="4313238"/>
            <a:ext cx="54864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EDC88DE-F5CC-4881-B66B-842496E2787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44062" y="4313238"/>
            <a:ext cx="5486400" cy="1828800"/>
          </a:xfrm>
        </p:spPr>
        <p:txBody>
          <a:bodyPr/>
          <a:lstStyle>
            <a:lvl1pPr marL="0" indent="0">
              <a:spcBef>
                <a:spcPts val="1000"/>
              </a:spcBef>
              <a:spcAft>
                <a:spcPts val="600"/>
              </a:spcAft>
              <a:buNone/>
              <a:defRPr sz="1400" b="1"/>
            </a:lvl1pPr>
            <a:lvl2pPr marL="180000">
              <a:spcBef>
                <a:spcPts val="0"/>
              </a:spcBef>
              <a:spcAft>
                <a:spcPts val="600"/>
              </a:spcAft>
              <a:defRPr sz="1200"/>
            </a:lvl2pPr>
            <a:lvl3pPr marL="360000">
              <a:spcBef>
                <a:spcPts val="0"/>
              </a:spcBef>
              <a:spcAft>
                <a:spcPts val="600"/>
              </a:spcAft>
              <a:defRPr sz="1200"/>
            </a:lvl3pPr>
            <a:lvl4pPr marL="540000">
              <a:spcBef>
                <a:spcPts val="0"/>
              </a:spcBef>
              <a:spcAft>
                <a:spcPts val="600"/>
              </a:spcAft>
              <a:defRPr sz="1200"/>
            </a:lvl4pPr>
            <a:lvl5pPr marL="720000"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823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E3917C-4B39-7348-B973-99D3A6300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87628C-A5EC-7641-A2EA-D8704F5744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D9B23F0-59FF-4F69-A030-CB1B83FF33F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48BA4119-5323-4E1F-A9A7-A1FAA1CBB7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96429993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 4 Pic with Su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4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57188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8724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0CAC169-C1E3-4B6E-B9C4-CCC3F0D838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9" y="1230231"/>
            <a:ext cx="5486400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59885671-02FB-434A-8C3A-CE8FD23710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44062" y="1230231"/>
            <a:ext cx="5486400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9D1CAA8-DAF0-48E8-BAAF-687A092134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3913147"/>
            <a:ext cx="5486400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B8AEE985-2693-45D0-A07C-C63EBA9443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44062" y="3913147"/>
            <a:ext cx="5486400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3160110-25FB-46E1-A119-46503489C51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60000" y="1627200"/>
            <a:ext cx="54864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748F2C9-9A3E-477A-8621-0905E37EAA1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00" y="4312450"/>
            <a:ext cx="54864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52E32D7-A4BA-45C8-85F9-FD31E7A2547B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344061" y="1627200"/>
            <a:ext cx="54864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8D4866-3943-4A06-AF5A-1DB6A896EE3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4062" y="4312450"/>
            <a:ext cx="54864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8689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 6 Pics with Content &amp; Su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57188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8724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0CAC169-C1E3-4B6E-B9C4-CCC3F0D838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9" y="1230231"/>
            <a:ext cx="3683364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59885671-02FB-434A-8C3A-CE8FD23710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68316" y="1230231"/>
            <a:ext cx="3682800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9D1CAA8-DAF0-48E8-BAAF-687A092134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3913147"/>
            <a:ext cx="3682800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B8AEE985-2693-45D0-A07C-C63EBA9443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68316" y="3913147"/>
            <a:ext cx="3682800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3160110-25FB-46E1-A119-46503489C51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60000" y="1627200"/>
            <a:ext cx="14400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748F2C9-9A3E-477A-8621-0905E37EAA1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00" y="4312450"/>
            <a:ext cx="14400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52E32D7-A4BA-45C8-85F9-FD31E7A2547B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268316" y="1627200"/>
            <a:ext cx="14400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8D4866-3943-4A06-AF5A-1DB6A896EE3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268316" y="4312450"/>
            <a:ext cx="14400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8EE4F96-A0F0-4B28-875D-C8AE347D081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160395" y="1628775"/>
            <a:ext cx="14400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73C0FA2A-CEB6-4F6F-B220-02FC4D10855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160395" y="4313238"/>
            <a:ext cx="14400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B5CD779-FD09-4D15-BFAE-EC4B7E8CE84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57220" y="1231900"/>
            <a:ext cx="3682800" cy="3429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lang="en-GB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</a:pPr>
            <a:r>
              <a:rPr lang="en-US" dirty="0"/>
              <a:t>Click to insert subtitle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E3E572B1-3C9D-4D95-AA07-389954DD74B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57220" y="3916362"/>
            <a:ext cx="3682800" cy="360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</a:pPr>
            <a:r>
              <a:rPr lang="en-US" dirty="0"/>
              <a:t>Click to insert subtitle</a:t>
            </a:r>
          </a:p>
        </p:txBody>
      </p:sp>
      <p:sp>
        <p:nvSpPr>
          <p:cNvPr id="40" name="Content Placeholder 38">
            <a:extLst>
              <a:ext uri="{FF2B5EF4-FFF2-40B4-BE49-F238E27FC236}">
                <a16:creationId xmlns:a16="http://schemas.microsoft.com/office/drawing/2014/main" id="{ADE0B316-0200-449E-8A32-B3E92FCBAB93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1892350" y="1628775"/>
            <a:ext cx="2127564" cy="1827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2" name="Content Placeholder 41">
            <a:extLst>
              <a:ext uri="{FF2B5EF4-FFF2-40B4-BE49-F238E27FC236}">
                <a16:creationId xmlns:a16="http://schemas.microsoft.com/office/drawing/2014/main" id="{AF65A230-7BCF-4F2B-A205-9313695E171E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5785167" y="1628775"/>
            <a:ext cx="2127564" cy="182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4" name="Content Placeholder 43">
            <a:extLst>
              <a:ext uri="{FF2B5EF4-FFF2-40B4-BE49-F238E27FC236}">
                <a16:creationId xmlns:a16="http://schemas.microsoft.com/office/drawing/2014/main" id="{8CC30BB6-5160-4147-9700-D44739E29BF2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9692004" y="1628775"/>
            <a:ext cx="2127564" cy="182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6" name="Content Placeholder 45">
            <a:extLst>
              <a:ext uri="{FF2B5EF4-FFF2-40B4-BE49-F238E27FC236}">
                <a16:creationId xmlns:a16="http://schemas.microsoft.com/office/drawing/2014/main" id="{646B0A4B-7AB9-4B18-8C71-CE28227ED48B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1892616" y="4312450"/>
            <a:ext cx="2127564" cy="182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8" name="Content Placeholder 47">
            <a:extLst>
              <a:ext uri="{FF2B5EF4-FFF2-40B4-BE49-F238E27FC236}">
                <a16:creationId xmlns:a16="http://schemas.microsoft.com/office/drawing/2014/main" id="{687CB1B8-E084-4A0B-B420-6A52B03D2A91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5801041" y="4312450"/>
            <a:ext cx="2127564" cy="182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0" name="Content Placeholder 49">
            <a:extLst>
              <a:ext uri="{FF2B5EF4-FFF2-40B4-BE49-F238E27FC236}">
                <a16:creationId xmlns:a16="http://schemas.microsoft.com/office/drawing/2014/main" id="{4F882C9B-4CDB-4B16-B8C7-9F76AF2F850C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9692005" y="4312450"/>
            <a:ext cx="2127564" cy="182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49405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Whit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703581-EE46-1C46-AC79-09987CF3C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 dirty="0"/>
              <a:t>Click to edit title of slid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3DE0C0-F9F3-3B4C-BD99-DC2773D3E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E03CC1-BAA6-3043-98F9-B41F6C0F18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9D3730A-B322-47C6-977A-3E1C12EF1D7F}"/>
              </a:ext>
            </a:extLst>
          </p:cNvPr>
          <p:cNvSpPr/>
          <p:nvPr userDrawn="1"/>
        </p:nvSpPr>
        <p:spPr>
          <a:xfrm>
            <a:off x="360000" y="1231200"/>
            <a:ext cx="11471636" cy="4912425"/>
          </a:xfrm>
          <a:prstGeom prst="rect">
            <a:avLst/>
          </a:prstGeom>
          <a:solidFill>
            <a:srgbClr val="65B4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schemeClr val="bg2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A8389C-6E5A-4A34-A26B-BF20BB053F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74A737-12AA-42D1-AE39-892582BDAC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439CF58-B8C7-4E18-AD46-0BEC31E1CD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2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744740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Subhead Tea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529252-766F-3141-B54F-24406F7A9B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title of slid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70DCC4-1401-574B-A0FD-9B3028D63F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Footer Text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8AF5F0-9FD3-D54B-A46A-6FBD2BBC4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7B5AB01-F165-584F-9D0C-FD8A47F7A7C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5C57E4C-AD29-43D8-85C9-C6BA7B788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3A9C048-7435-4E6F-9995-19D7F7AAF1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EE9CFA3F-C023-4172-BB4E-F55A7A5524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37436723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0100" y="2812200"/>
            <a:ext cx="9031287" cy="729000"/>
          </a:xfrm>
        </p:spPr>
        <p:txBody>
          <a:bodyPr wrap="square" anchor="t">
            <a:spAutoFit/>
          </a:bodyPr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Quo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20100" y="5871600"/>
            <a:ext cx="9031287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Source</a:t>
            </a:r>
          </a:p>
        </p:txBody>
      </p:sp>
      <p:pic>
        <p:nvPicPr>
          <p:cNvPr id="8" name="Picture 7" hidden="1">
            <a:extLst>
              <a:ext uri="{FF2B5EF4-FFF2-40B4-BE49-F238E27FC236}">
                <a16:creationId xmlns:a16="http://schemas.microsoft.com/office/drawing/2014/main" id="{164B3FBC-101B-4058-A4DD-3F74357A34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992" y="336592"/>
            <a:ext cx="1672741" cy="86439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7A841D7-670E-4CBC-BF83-75B3059608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320425" y="1607916"/>
            <a:ext cx="1038380" cy="1041178"/>
          </a:xfrm>
          <a:prstGeom prst="rect">
            <a:avLst/>
          </a:prstGeom>
        </p:spPr>
      </p:pic>
      <p:pic>
        <p:nvPicPr>
          <p:cNvPr id="6" name="Graphic 5" hidden="1">
            <a:extLst>
              <a:ext uri="{FF2B5EF4-FFF2-40B4-BE49-F238E27FC236}">
                <a16:creationId xmlns:a16="http://schemas.microsoft.com/office/drawing/2014/main" id="{C7754142-29A6-4E0A-A3E1-B2FB107D486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1155" y="350878"/>
            <a:ext cx="1861200" cy="676800"/>
          </a:xfrm>
          <a:prstGeom prst="rect">
            <a:avLst/>
          </a:prstGeom>
        </p:spPr>
      </p:pic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EE822B65-63D6-4DFD-B22A-83651BCE076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8774" y="360000"/>
            <a:ext cx="1742401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995532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teal">
    <p:bg>
      <p:bgPr>
        <a:solidFill>
          <a:srgbClr val="7EBD5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2000" y="2812200"/>
            <a:ext cx="9031287" cy="729000"/>
          </a:xfrm>
        </p:spPr>
        <p:txBody>
          <a:bodyPr wrap="square" anchor="t">
            <a:sp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Quo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21999" y="5871600"/>
            <a:ext cx="9031286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Sourc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6307659-3FBE-4456-B0EE-6058933D91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</a:blip>
          <a:stretch>
            <a:fillRect/>
          </a:stretch>
        </p:blipFill>
        <p:spPr>
          <a:xfrm>
            <a:off x="2322000" y="1603672"/>
            <a:ext cx="1038380" cy="1049667"/>
          </a:xfrm>
          <a:prstGeom prst="rect">
            <a:avLst/>
          </a:prstGeom>
        </p:spPr>
      </p:pic>
      <p:pic>
        <p:nvPicPr>
          <p:cNvPr id="7" name="Picture 6" hidden="1">
            <a:extLst>
              <a:ext uri="{FF2B5EF4-FFF2-40B4-BE49-F238E27FC236}">
                <a16:creationId xmlns:a16="http://schemas.microsoft.com/office/drawing/2014/main" id="{3461F122-F5C5-4811-8491-EEDFAD60DC8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1597" y="338400"/>
            <a:ext cx="1674000" cy="860729"/>
          </a:xfrm>
          <a:prstGeom prst="rect">
            <a:avLst/>
          </a:prstGeom>
        </p:spPr>
      </p:pic>
      <p:pic>
        <p:nvPicPr>
          <p:cNvPr id="8" name="Graphic 7" hidden="1">
            <a:extLst>
              <a:ext uri="{FF2B5EF4-FFF2-40B4-BE49-F238E27FC236}">
                <a16:creationId xmlns:a16="http://schemas.microsoft.com/office/drawing/2014/main" id="{B33D926F-76B7-4DDB-9444-CCA42D0DD6F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1155" y="350878"/>
            <a:ext cx="1861200" cy="676800"/>
          </a:xfrm>
          <a:prstGeom prst="rect">
            <a:avLst/>
          </a:prstGeom>
        </p:spPr>
      </p:pic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1A917AA1-B95F-4D86-B80A-350B2322A83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8774" y="360000"/>
            <a:ext cx="1742401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35683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gre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2000" y="2812200"/>
            <a:ext cx="9031287" cy="729000"/>
          </a:xfrm>
        </p:spPr>
        <p:txBody>
          <a:bodyPr wrap="square" anchor="t">
            <a:sp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Quo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22000" y="5869875"/>
            <a:ext cx="9031287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Sourc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507C93C-0757-445A-A287-0BE27C7C89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</a:blip>
          <a:stretch>
            <a:fillRect/>
          </a:stretch>
        </p:blipFill>
        <p:spPr>
          <a:xfrm>
            <a:off x="2322000" y="1603672"/>
            <a:ext cx="1038380" cy="1049667"/>
          </a:xfrm>
          <a:prstGeom prst="rect">
            <a:avLst/>
          </a:prstGeom>
        </p:spPr>
      </p:pic>
      <p:pic>
        <p:nvPicPr>
          <p:cNvPr id="7" name="Picture 6" hidden="1">
            <a:extLst>
              <a:ext uri="{FF2B5EF4-FFF2-40B4-BE49-F238E27FC236}">
                <a16:creationId xmlns:a16="http://schemas.microsoft.com/office/drawing/2014/main" id="{2A92D6CA-6189-4CBA-A770-AB488D30C8D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1597" y="338400"/>
            <a:ext cx="1674000" cy="860729"/>
          </a:xfrm>
          <a:prstGeom prst="rect">
            <a:avLst/>
          </a:prstGeom>
        </p:spPr>
      </p:pic>
      <p:pic>
        <p:nvPicPr>
          <p:cNvPr id="8" name="Graphic 7" hidden="1">
            <a:extLst>
              <a:ext uri="{FF2B5EF4-FFF2-40B4-BE49-F238E27FC236}">
                <a16:creationId xmlns:a16="http://schemas.microsoft.com/office/drawing/2014/main" id="{285D2048-AB48-4A94-ADCB-F90560428BF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1155" y="350878"/>
            <a:ext cx="1861200" cy="6768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52752CB9-18B9-4F77-BEA7-4F35F4E15BC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8774" y="360000"/>
            <a:ext cx="1742401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33535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 noProof="0"/>
              <a:t>Click to edit title of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24B0CF9-8601-4195-AE40-924B298650E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215063" y="1750409"/>
            <a:ext cx="5616574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3B8CACC-D0BE-40FC-A135-8D044B94E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5425" y="1231106"/>
            <a:ext cx="5616213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C0C71DC-89F7-4588-8AA4-D020FC9D061A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15063" y="3000088"/>
            <a:ext cx="5616574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C8DF0E9-B94A-414E-9825-94933E3AD0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5425" y="2480448"/>
            <a:ext cx="5616213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8B3B1BD-2F40-494B-A10A-17F6270719C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15063" y="4249767"/>
            <a:ext cx="5616574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98F1247-7E81-4AFE-972C-0325833ADE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5425" y="3729790"/>
            <a:ext cx="5616213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288F4B-4B0C-4E92-82A7-10C900D13DE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15063" y="5499445"/>
            <a:ext cx="5616574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EE074E9-2CB0-447E-A5D6-065F8872C3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5425" y="4979132"/>
            <a:ext cx="5616213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1C538FF-21D3-4826-8FBE-F4751F046A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2000" y="1883431"/>
            <a:ext cx="4397097" cy="4089400"/>
          </a:xfrm>
          <a:prstGeom prst="rect">
            <a:avLst/>
          </a:prstGeom>
        </p:spPr>
      </p:pic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754D7D39-C401-4CDB-8276-D1EEFEA0684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28675" y="2095500"/>
            <a:ext cx="3952875" cy="2209800"/>
          </a:xfrm>
          <a:solidFill>
            <a:srgbClr val="DDE0E3"/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image or paste he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C8E2C711-690B-4B77-BBA7-AAE547469E8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9C2044-3926-41EC-9879-DD451B4C1A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80657966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3DFF0D7D-AF46-45B4-8107-C24EBDE66A5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869300" y="1726727"/>
            <a:ext cx="2273994" cy="416761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 noProof="0" dirty="0"/>
              <a:t>Click to edit title of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24B0CF9-8601-4195-AE40-924B298650E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215063" y="1749600"/>
            <a:ext cx="5619236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3B8CACC-D0BE-40FC-A135-8D044B94E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5425" y="1231200"/>
            <a:ext cx="5618875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C0C71DC-89F7-4588-8AA4-D020FC9D061A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15063" y="3000000"/>
            <a:ext cx="5619236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C8DF0E9-B94A-414E-9825-94933E3AD0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5425" y="2480400"/>
            <a:ext cx="5618875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8B3B1BD-2F40-494B-A10A-17F6270719C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15063" y="4250400"/>
            <a:ext cx="5619236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98F1247-7E81-4AFE-972C-0325833ADE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5425" y="3729600"/>
            <a:ext cx="5618875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288F4B-4B0C-4E92-82A7-10C900D13DE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15063" y="5500800"/>
            <a:ext cx="5619236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EE074E9-2CB0-447E-A5D6-065F8872C3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5425" y="4978800"/>
            <a:ext cx="5618875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A8FA0853-E306-4792-AD22-71E047EF72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038350" y="2064332"/>
            <a:ext cx="1933575" cy="2998800"/>
          </a:xfrm>
          <a:solidFill>
            <a:srgbClr val="DDE0E3"/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image or paste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9BA7440-4F5D-4078-B2DA-042AF1AFFD7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8D9D9A59-61F0-4971-A119-9175F13313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314619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Graph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 noProof="0" dirty="0"/>
              <a:t>Click to edit title of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24B0CF9-8601-4195-AE40-924B298650E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215063" y="1749600"/>
            <a:ext cx="5619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3B8CACC-D0BE-40FC-A135-8D044B94E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5425" y="1231200"/>
            <a:ext cx="5619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C0C71DC-89F7-4588-8AA4-D020FC9D061A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15063" y="3000000"/>
            <a:ext cx="5619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C8DF0E9-B94A-414E-9825-94933E3AD0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5425" y="2480400"/>
            <a:ext cx="5619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8B3B1BD-2F40-494B-A10A-17F6270719C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15063" y="4250400"/>
            <a:ext cx="5619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98F1247-7E81-4AFE-972C-0325833ADE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5425" y="3729600"/>
            <a:ext cx="5619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288F4B-4B0C-4E92-82A7-10C900D13DE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15063" y="5500800"/>
            <a:ext cx="5619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EE074E9-2CB0-447E-A5D6-065F8872C3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5425" y="4978800"/>
            <a:ext cx="5619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F4CD0C0-1F13-4748-9E05-DD5C257143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000" y="1643846"/>
            <a:ext cx="5187359" cy="3358181"/>
          </a:xfrm>
          <a:prstGeom prst="rect">
            <a:avLst/>
          </a:prstGeom>
        </p:spPr>
      </p:pic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A450EF5D-6797-4055-88DE-8D7F08CCAF2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037020" y="1937724"/>
            <a:ext cx="3981600" cy="2757600"/>
          </a:xfrm>
          <a:solidFill>
            <a:srgbClr val="DDE0E3"/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image or paste he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DDEEBE8-B80F-464C-A39F-17B31A849BB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78B9E692-30DD-45D2-A22B-66505F54321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82579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3200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 noProof="0" dirty="0"/>
              <a:t>Click to edit title of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D7B397-8663-3A48-AD9C-349EE7D16D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0001" y="1231199"/>
            <a:ext cx="5648688" cy="49124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BBD698-77A6-AD4C-890D-FCF16F15E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15063" y="1231199"/>
            <a:ext cx="5616574" cy="49124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32196A7-D303-4F40-9667-F41D4F1E8E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D14F979-FBDD-4636-89FF-6CF9A83911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87FFF35-EEE9-40B7-88CD-480110846D29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093324" y="0"/>
            <a:ext cx="1739877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59626097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icon co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 noProof="0" dirty="0"/>
              <a:t>Click to edit title of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24B0CF9-8601-4195-AE40-924B298650E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785600" y="1750818"/>
            <a:ext cx="10047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3B8CACC-D0BE-40FC-A135-8D044B94E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85600" y="1231583"/>
            <a:ext cx="10047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C0C71DC-89F7-4588-8AA4-D020FC9D061A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1785600" y="3000287"/>
            <a:ext cx="10047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C8DF0E9-B94A-414E-9825-94933E3AD0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85600" y="2481052"/>
            <a:ext cx="10047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8B3B1BD-2F40-494B-A10A-17F6270719C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1785600" y="4249756"/>
            <a:ext cx="10047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98F1247-7E81-4AFE-972C-0325833ADE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85600" y="3730521"/>
            <a:ext cx="10047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288F4B-4B0C-4E92-82A7-10C900D13DE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1785600" y="5499225"/>
            <a:ext cx="10047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EE074E9-2CB0-447E-A5D6-065F8872C3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85600" y="4979991"/>
            <a:ext cx="10047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4ACC9EF-B4E2-47E0-BE2E-550EB78D2D0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F85F3C54-74D2-4E50-B7A2-96A21A23F8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5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974362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ic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 noProof="0"/>
              <a:t>Click to edit title of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24B0CF9-8601-4195-AE40-924B298650E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785600" y="1751092"/>
            <a:ext cx="10047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3B8CACC-D0BE-40FC-A135-8D044B94E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85600" y="1231857"/>
            <a:ext cx="10047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C0C71DC-89F7-4588-8AA4-D020FC9D061A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1785600" y="3000109"/>
            <a:ext cx="10047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C8DF0E9-B94A-414E-9825-94933E3AD0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85600" y="2480874"/>
            <a:ext cx="10047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8B3B1BD-2F40-494B-A10A-17F6270719C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1785600" y="4249126"/>
            <a:ext cx="10047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98F1247-7E81-4AFE-972C-0325833ADE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85600" y="3729891"/>
            <a:ext cx="10047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288F4B-4B0C-4E92-82A7-10C900D13DE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1785600" y="5498143"/>
            <a:ext cx="10047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EE074E9-2CB0-447E-A5D6-065F8872C3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85600" y="4978909"/>
            <a:ext cx="10047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02396F6-5E53-4B05-B21A-B67645855D5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5D3EFA71-6A51-4EAE-B4AE-14D8089295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91526081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co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Click to edit title of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Footer Text here if required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US" smtClean="0"/>
              <a:t>‹#›</a:t>
            </a:fld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8BCF627-9B1A-4433-BDF1-E3FAB03F3F9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61366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94A42B3-386F-4570-AF77-B09584A4EDB3}"/>
              </a:ext>
            </a:extLst>
          </p:cNvPr>
          <p:cNvCxnSpPr>
            <a:cxnSpLocks/>
          </p:cNvCxnSpPr>
          <p:nvPr userDrawn="1"/>
        </p:nvCxnSpPr>
        <p:spPr>
          <a:xfrm flipV="1">
            <a:off x="3818275" y="342546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0D959B6-B882-4748-BFB2-A4FB2158BE62}"/>
              </a:ext>
            </a:extLst>
          </p:cNvPr>
          <p:cNvCxnSpPr>
            <a:cxnSpLocks/>
          </p:cNvCxnSpPr>
          <p:nvPr userDrawn="1"/>
        </p:nvCxnSpPr>
        <p:spPr>
          <a:xfrm flipV="1">
            <a:off x="4575184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4815102-2641-453E-833D-D8FB5536C9ED}"/>
              </a:ext>
            </a:extLst>
          </p:cNvPr>
          <p:cNvCxnSpPr>
            <a:cxnSpLocks/>
          </p:cNvCxnSpPr>
          <p:nvPr userDrawn="1"/>
        </p:nvCxnSpPr>
        <p:spPr>
          <a:xfrm flipV="1">
            <a:off x="5332093" y="342546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517067F-C719-43C2-9A62-B3C3D555939F}"/>
              </a:ext>
            </a:extLst>
          </p:cNvPr>
          <p:cNvCxnSpPr>
            <a:cxnSpLocks/>
          </p:cNvCxnSpPr>
          <p:nvPr userDrawn="1"/>
        </p:nvCxnSpPr>
        <p:spPr>
          <a:xfrm flipV="1">
            <a:off x="6089002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2760275-CA83-4E5F-8AC7-CEF35CDF3259}"/>
              </a:ext>
            </a:extLst>
          </p:cNvPr>
          <p:cNvCxnSpPr>
            <a:cxnSpLocks/>
          </p:cNvCxnSpPr>
          <p:nvPr userDrawn="1"/>
        </p:nvCxnSpPr>
        <p:spPr>
          <a:xfrm flipV="1">
            <a:off x="6845911" y="342546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15A3289-08E1-42E1-A8E7-558A109E7B20}"/>
              </a:ext>
            </a:extLst>
          </p:cNvPr>
          <p:cNvCxnSpPr>
            <a:cxnSpLocks/>
          </p:cNvCxnSpPr>
          <p:nvPr userDrawn="1"/>
        </p:nvCxnSpPr>
        <p:spPr>
          <a:xfrm flipV="1">
            <a:off x="7602820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F6B6689-405C-4F99-B18D-14B6FFC05438}"/>
              </a:ext>
            </a:extLst>
          </p:cNvPr>
          <p:cNvCxnSpPr>
            <a:cxnSpLocks/>
          </p:cNvCxnSpPr>
          <p:nvPr userDrawn="1"/>
        </p:nvCxnSpPr>
        <p:spPr>
          <a:xfrm flipV="1">
            <a:off x="8359729" y="342546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D354C0A-99FA-4D65-BC96-696B65A17BD6}"/>
              </a:ext>
            </a:extLst>
          </p:cNvPr>
          <p:cNvCxnSpPr>
            <a:cxnSpLocks/>
          </p:cNvCxnSpPr>
          <p:nvPr userDrawn="1"/>
        </p:nvCxnSpPr>
        <p:spPr>
          <a:xfrm flipV="1">
            <a:off x="9116638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012335-8D32-4874-A96B-5ECF744338FC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30456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CCFECC2-CAF0-42FE-AB0A-86EF6A2F3F1E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2304457" y="3425465"/>
            <a:ext cx="1591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FA0EBC2-B451-4574-B391-E3AD65FEE8C2}"/>
              </a:ext>
            </a:extLst>
          </p:cNvPr>
          <p:cNvCxnSpPr>
            <a:cxnSpLocks/>
          </p:cNvCxnSpPr>
          <p:nvPr userDrawn="1"/>
        </p:nvCxnSpPr>
        <p:spPr>
          <a:xfrm flipV="1">
            <a:off x="9873547" y="342546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41E5E33B-7E1B-4C9A-923E-05A72013E6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47548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70EC5FA-DF6B-4761-87C7-3BD98B4F5B43}"/>
              </a:ext>
            </a:extLst>
          </p:cNvPr>
          <p:cNvCxnSpPr>
            <a:cxnSpLocks/>
          </p:cNvCxnSpPr>
          <p:nvPr userDrawn="1"/>
        </p:nvCxnSpPr>
        <p:spPr>
          <a:xfrm>
            <a:off x="988168" y="3687354"/>
            <a:ext cx="10633076" cy="0"/>
          </a:xfrm>
          <a:prstGeom prst="line">
            <a:avLst/>
          </a:prstGeom>
          <a:ln w="50800" cap="rnd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AEBE50A6-2B6E-45D1-B02D-F21587E3A4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061366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618B6BC9-5474-42FF-B42C-57702244466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75184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C1D2A1A7-37B8-4B6A-BE55-666685973E7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89002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CDFFFA45-7FAD-4515-9DB2-9B963F2744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13431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023424D7-92EF-48CA-8D74-122054073E9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127249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A20F9461-9AA2-4A61-85DA-A7CC8D419DD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304457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26B9587E-7FD0-4462-8A18-70AD1CB183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18275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14A68AF4-7308-4EB8-BC50-D2B2571B8C6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332093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0E7A4446-B482-4936-85FD-6335C705960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45911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BF651D25-E3A2-4321-894C-73AE1E67BB9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70340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1CAD672-0E7B-4BD3-8623-0A35A7E0D4F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84158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B2B21BE-659B-4D23-A979-15034F68D7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E5CF7AF6-216F-45FD-B57E-C77989DA8F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Date Placeholder 3">
            <a:extLst>
              <a:ext uri="{FF2B5EF4-FFF2-40B4-BE49-F238E27FC236}">
                <a16:creationId xmlns:a16="http://schemas.microsoft.com/office/drawing/2014/main" id="{E38DB05F-CF65-44F3-9408-F31FA3B97B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2692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7474 -1.48148E-6 L 2.70833E-6 -1.48148E-6 " pathEditMode="relative" rAng="0" ptsTypes="AA">
                                      <p:cBhvr>
                                        <p:cTn id="9" dur="1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3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Blue">
    <p:bg>
      <p:bgPr>
        <a:solidFill>
          <a:srgbClr val="65B4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439369"/>
            <a:ext cx="9031286" cy="902555"/>
          </a:xfrm>
        </p:spPr>
        <p:txBody>
          <a:bodyPr wrap="square" anchor="b" anchorCtr="0">
            <a:spAutoFit/>
          </a:bodyPr>
          <a:lstStyle>
            <a:lvl1pPr>
              <a:defRPr sz="585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Divider page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34401" y="3375369"/>
            <a:ext cx="9031286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Use for subheading (or delete)</a:t>
            </a:r>
          </a:p>
        </p:txBody>
      </p:sp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9761CDC8-2B86-4ECE-89F0-E7321ABE44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8586" y="2871788"/>
            <a:ext cx="1200693" cy="617065"/>
          </a:xfrm>
          <a:prstGeom prst="rect">
            <a:avLst/>
          </a:prstGeom>
        </p:spPr>
      </p:pic>
      <p:pic>
        <p:nvPicPr>
          <p:cNvPr id="6" name="Graphic 5" hidden="1">
            <a:extLst>
              <a:ext uri="{FF2B5EF4-FFF2-40B4-BE49-F238E27FC236}">
                <a16:creationId xmlns:a16="http://schemas.microsoft.com/office/drawing/2014/main" id="{4D8BD062-746F-4147-A24D-CBD0AA99970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7188" y="2874963"/>
            <a:ext cx="1742400" cy="633600"/>
          </a:xfrm>
          <a:prstGeom prst="rect">
            <a:avLst/>
          </a:prstGeom>
        </p:spPr>
      </p:pic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3910FD28-F8CC-4BD7-BF40-3385452123D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9912" y="2691608"/>
            <a:ext cx="1742401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41083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 RE">
    <p:bg>
      <p:bgPr>
        <a:solidFill>
          <a:srgbClr val="65B4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70" y="1228725"/>
            <a:ext cx="6480000" cy="1118630"/>
          </a:xfrm>
        </p:spPr>
        <p:txBody>
          <a:bodyPr wrap="square" anchor="b" anchorCtr="0">
            <a:noAutofit/>
          </a:bodyPr>
          <a:lstStyle>
            <a:lvl1pPr>
              <a:defRPr sz="585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Divider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9570" y="2380800"/>
            <a:ext cx="6480000" cy="4247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Divider subheading (or delete)</a:t>
            </a:r>
          </a:p>
        </p:txBody>
      </p:sp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C751E150-D939-4154-9CF1-45F6484F30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9569" y="548986"/>
            <a:ext cx="1200693" cy="617065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CF0D1BB-6C13-4620-BC6E-65E8787A0B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01951" y="0"/>
            <a:ext cx="4990049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ACDEA84-F2FE-497C-884C-5127148EC6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0362" y="2876550"/>
            <a:ext cx="6479207" cy="32670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9B29770-3E63-463E-9F05-A4DBE49A1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6600825"/>
            <a:ext cx="6478587" cy="150813"/>
          </a:xfrm>
        </p:spPr>
        <p:txBody>
          <a:bodyPr tIns="0" rIns="0" bIns="0" anchor="b" anchorCtr="0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tabLst/>
              <a:defRPr lang="en-US" sz="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180000" lvl="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tabLst/>
            </a:pPr>
            <a:r>
              <a:rPr lang="en-US" dirty="0"/>
              <a:t>Enter source here</a:t>
            </a:r>
          </a:p>
        </p:txBody>
      </p:sp>
      <p:pic>
        <p:nvPicPr>
          <p:cNvPr id="8" name="Graphic 7" hidden="1">
            <a:extLst>
              <a:ext uri="{FF2B5EF4-FFF2-40B4-BE49-F238E27FC236}">
                <a16:creationId xmlns:a16="http://schemas.microsoft.com/office/drawing/2014/main" id="{9044A6D3-B146-4C53-AC4A-CE0874789D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775" y="555674"/>
            <a:ext cx="1692901" cy="6156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08AE40D2-7B3F-48B6-9EE1-1293369B082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8774" y="360000"/>
            <a:ext cx="1742401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041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10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purp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2000" y="2812200"/>
            <a:ext cx="9031287" cy="729000"/>
          </a:xfrm>
        </p:spPr>
        <p:txBody>
          <a:bodyPr wrap="square" anchor="t">
            <a:sp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Quo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22000" y="5871600"/>
            <a:ext cx="9031287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Sourc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8FF6056-A013-447A-9FBD-DB91A09B10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</a:blip>
          <a:stretch>
            <a:fillRect/>
          </a:stretch>
        </p:blipFill>
        <p:spPr>
          <a:xfrm>
            <a:off x="2322000" y="1603672"/>
            <a:ext cx="1038380" cy="1049667"/>
          </a:xfrm>
          <a:prstGeom prst="rect">
            <a:avLst/>
          </a:prstGeom>
        </p:spPr>
      </p:pic>
      <p:pic>
        <p:nvPicPr>
          <p:cNvPr id="7" name="Picture 6" hidden="1">
            <a:extLst>
              <a:ext uri="{FF2B5EF4-FFF2-40B4-BE49-F238E27FC236}">
                <a16:creationId xmlns:a16="http://schemas.microsoft.com/office/drawing/2014/main" id="{21C9C91D-CA76-4182-91D7-B8F563B74AA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1597" y="338400"/>
            <a:ext cx="1674000" cy="860729"/>
          </a:xfrm>
          <a:prstGeom prst="rect">
            <a:avLst/>
          </a:prstGeom>
        </p:spPr>
      </p:pic>
      <p:pic>
        <p:nvPicPr>
          <p:cNvPr id="8" name="Graphic 7" hidden="1">
            <a:extLst>
              <a:ext uri="{FF2B5EF4-FFF2-40B4-BE49-F238E27FC236}">
                <a16:creationId xmlns:a16="http://schemas.microsoft.com/office/drawing/2014/main" id="{5D7BA4B4-08AE-41E7-9884-2BC5DB23F2C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1155" y="350878"/>
            <a:ext cx="1861200" cy="6768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3AD505B8-56BE-4DE6-A2D3-E5E885D9B06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8774" y="360000"/>
            <a:ext cx="1742401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90404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6A5FEBD4-7B70-4DAD-9FCC-176F7BBD6C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8AF5F0-9FD3-D54B-A46A-6FBD2BBC4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CAB7F84-9DFB-4370-85C9-B20F445007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0000" y="1232066"/>
            <a:ext cx="56515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/>
              <a:defRPr/>
            </a:lvl1pPr>
            <a:lvl2pPr marL="449263" indent="-180000">
              <a:buClr>
                <a:schemeClr val="tx2"/>
              </a:buClr>
              <a:defRPr/>
            </a:lvl2pPr>
            <a:lvl3pPr marL="630000">
              <a:buClr>
                <a:schemeClr val="tx2"/>
              </a:buClr>
              <a:defRPr sz="1400"/>
            </a:lvl3pPr>
          </a:lstStyle>
          <a:p>
            <a:pPr lvl="0"/>
            <a:r>
              <a:rPr lang="en-US" noProof="0" dirty="0"/>
              <a:t>First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1F94FDE5-8E44-48FD-BD23-08D4C03484F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0000" y="2242249"/>
            <a:ext cx="56515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2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Second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22DDBA6-6641-4C5A-AD54-168BC36EA6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0000" y="3252432"/>
            <a:ext cx="56515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3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Third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9E75B39-D281-40DD-A140-DD706DCDA33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0000" y="4262615"/>
            <a:ext cx="56515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4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Fourth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FD4FD174-BBF9-4459-819A-7B5112F8EA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0000" y="5272798"/>
            <a:ext cx="56515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5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Fifth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3B57FB52-2F21-4AE8-B084-C491C45ED15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20776" y="1232066"/>
            <a:ext cx="56160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6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Sixth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A19853FC-0CDB-4BB7-A510-57477AE052F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20776" y="2242249"/>
            <a:ext cx="56160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7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Seventh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1580269D-0DEE-4571-BF89-D116130C8D3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20776" y="3252432"/>
            <a:ext cx="56160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8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Eight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BAFD3037-F392-43BB-B95C-086B92CDCF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20776" y="4262615"/>
            <a:ext cx="56160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9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Ninth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DB0E9DB-0DEA-4252-B22D-D8C1611C91D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20776" y="5272798"/>
            <a:ext cx="56160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10"/>
              <a:defRPr/>
            </a:lvl1pPr>
            <a:lvl2pPr marL="450000" indent="-180000">
              <a:buFont typeface="Arial" panose="020B0604020202020204" pitchFamily="34" charset="0"/>
              <a:buChar char="•"/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Delete section title boxes not needed</a:t>
            </a:r>
          </a:p>
          <a:p>
            <a:pPr lvl="1"/>
            <a:endParaRPr lang="en-US" noProof="0" dirty="0"/>
          </a:p>
          <a:p>
            <a:pPr lvl="2"/>
            <a:endParaRPr lang="en-US" noProof="0" dirty="0"/>
          </a:p>
          <a:p>
            <a:pPr lvl="2"/>
            <a:endParaRPr lang="en-US" noProof="0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86DFA456-F107-496E-9D8F-95860DCB45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092C5C48-7DE3-4519-894E-3B5F040C45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59264" y="0"/>
            <a:ext cx="5648324" cy="356400"/>
          </a:xfrm>
        </p:spPr>
        <p:txBody>
          <a:bodyPr/>
          <a:lstStyle/>
          <a:p>
            <a:r>
              <a:rPr lang="en-GB" dirty="0"/>
              <a:t>Insert Footer Text here if required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541616CC-6C13-4F10-91CB-4346AB53EA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43452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619FE1A-9B96-422B-A94E-8DF2BC3B386E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  <a:p>
            <a:pPr algn="ctr">
              <a:lnSpc>
                <a:spcPct val="150000"/>
              </a:lnSpc>
            </a:pPr>
            <a:r>
              <a:rPr lang="en-GB" dirty="0"/>
              <a:t>Use New Agenda</a:t>
            </a:r>
          </a:p>
        </p:txBody>
      </p:sp>
    </p:spTree>
    <p:extLst>
      <p:ext uri="{BB962C8B-B14F-4D97-AF65-F5344CB8AC3E}">
        <p14:creationId xmlns:p14="http://schemas.microsoft.com/office/powerpoint/2010/main" val="147203883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ld Sty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9A3BDBFC-35BF-C640-A95A-DBE6DEE579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4444" y="4227680"/>
            <a:ext cx="5919537" cy="438582"/>
          </a:xfrm>
        </p:spPr>
        <p:txBody>
          <a:bodyPr wrap="square">
            <a:spAutoFit/>
          </a:bodyPr>
          <a:lstStyle>
            <a:lvl1pPr marL="0" indent="0" algn="l">
              <a:buNone/>
              <a:defRPr sz="25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Click to edit presentation subtitl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71540E4-5E43-3445-9361-342BABDD7B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508350"/>
            <a:ext cx="5919537" cy="1590307"/>
          </a:xfrm>
        </p:spPr>
        <p:txBody>
          <a:bodyPr>
            <a:spAutoFit/>
          </a:bodyPr>
          <a:lstStyle>
            <a:lvl1pPr>
              <a:lnSpc>
                <a:spcPts val="5700"/>
              </a:lnSpc>
              <a:defRPr sz="56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noProof="0" dirty="0"/>
              <a:t>Click to edit presentation tit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CF3CF69-76EA-4060-BE07-7A302777A3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5878800"/>
            <a:ext cx="11471638" cy="417600"/>
          </a:xfrm>
        </p:spPr>
        <p:txBody>
          <a:bodyPr tIns="0" rIns="0" bIns="0" anchor="b" anchorCtr="0"/>
          <a:lstStyle>
            <a:lvl1pPr marL="0" indent="0">
              <a:buNone/>
              <a:defRPr sz="14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r Investment Professionals only</a:t>
            </a: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B0BD1E3-1D95-4974-B27F-BA6D0C49EE10}"/>
              </a:ext>
            </a:extLst>
          </p:cNvPr>
          <p:cNvSpPr/>
          <p:nvPr userDrawn="1"/>
        </p:nvSpPr>
        <p:spPr>
          <a:xfrm>
            <a:off x="1192511" y="2607587"/>
            <a:ext cx="234000" cy="12071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hidden="1">
            <a:extLst>
              <a:ext uri="{FF2B5EF4-FFF2-40B4-BE49-F238E27FC236}">
                <a16:creationId xmlns:a16="http://schemas.microsoft.com/office/drawing/2014/main" id="{B8B0B767-4933-4317-9231-2492FC4931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95007" y="2602992"/>
            <a:ext cx="2345340" cy="1211960"/>
          </a:xfrm>
          <a:prstGeom prst="rect">
            <a:avLst/>
          </a:prstGeom>
        </p:spPr>
      </p:pic>
      <p:pic>
        <p:nvPicPr>
          <p:cNvPr id="8" name="Graphic 7" hidden="1">
            <a:extLst>
              <a:ext uri="{FF2B5EF4-FFF2-40B4-BE49-F238E27FC236}">
                <a16:creationId xmlns:a16="http://schemas.microsoft.com/office/drawing/2014/main" id="{25706E54-4503-4F51-80C4-78ACECA405E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2700" y="2616857"/>
            <a:ext cx="3560400" cy="1294691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244B07EC-D247-44B5-9B6F-42F847C605F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10200" y="3048000"/>
            <a:ext cx="1371600" cy="762000"/>
          </a:xfrm>
          <a:prstGeom prst="rect">
            <a:avLst/>
          </a:prstGeom>
        </p:spPr>
      </p:pic>
      <p:pic>
        <p:nvPicPr>
          <p:cNvPr id="41" name="Picture 40" descr="A close up of a sign&#10;&#10;Description automatically generated">
            <a:extLst>
              <a:ext uri="{FF2B5EF4-FFF2-40B4-BE49-F238E27FC236}">
                <a16:creationId xmlns:a16="http://schemas.microsoft.com/office/drawing/2014/main" id="{6C7F230A-0402-43A0-B1B7-199F3730630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58618" y="2691606"/>
            <a:ext cx="1742401" cy="6336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576CCE0-5508-4562-9E53-014E961AF3B6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  <a:br>
              <a:rPr lang="en-GB" dirty="0"/>
            </a:br>
            <a:r>
              <a:rPr lang="en-GB" dirty="0"/>
              <a:t>Apply Title Teal Layout</a:t>
            </a:r>
          </a:p>
        </p:txBody>
      </p:sp>
    </p:spTree>
    <p:extLst>
      <p:ext uri="{BB962C8B-B14F-4D97-AF65-F5344CB8AC3E}">
        <p14:creationId xmlns:p14="http://schemas.microsoft.com/office/powerpoint/2010/main" val="33899856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ld Old Sty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632A869-700E-46C5-AC16-D79FACE0221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DDE0E3"/>
          </a:solidFill>
        </p:spPr>
        <p:txBody>
          <a:bodyPr/>
          <a:lstStyle>
            <a:lvl1pPr marL="180000" indent="0">
              <a:lnSpc>
                <a:spcPct val="120000"/>
              </a:lnSpc>
              <a:buNone/>
              <a:defRPr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ING A PHOTOGRAPH INTO THE BACKGROUND</a:t>
            </a:r>
            <a:br>
              <a:rPr lang="en-GB" dirty="0"/>
            </a:br>
            <a:r>
              <a:rPr lang="en-GB" dirty="0"/>
              <a:t>Right click on the edge of the grey area to select the picture placeholder. </a:t>
            </a:r>
            <a:br>
              <a:rPr lang="en-GB" dirty="0"/>
            </a:br>
            <a:r>
              <a:rPr lang="en-GB" dirty="0"/>
              <a:t>A drop down dialogue will appear. Select BRING TO FRONT. </a:t>
            </a:r>
            <a:br>
              <a:rPr lang="en-GB" dirty="0"/>
            </a:br>
            <a:r>
              <a:rPr lang="en-GB" dirty="0"/>
              <a:t>Click on the picture Icon in the middle of the screen to browse your PC to select a picture to insert. </a:t>
            </a:r>
            <a:br>
              <a:rPr lang="en-GB" dirty="0"/>
            </a:br>
            <a:r>
              <a:rPr lang="en-GB" dirty="0"/>
              <a:t>Double click on the file you want to insert and then right click on the edge of the picture and select SEND TO BACK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3BDBFC-35BF-C640-A95A-DBE6DEE579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4400" y="4227680"/>
            <a:ext cx="5919537" cy="438582"/>
          </a:xfrm>
        </p:spPr>
        <p:txBody>
          <a:bodyPr wrap="square">
            <a:spAutoFit/>
          </a:bodyPr>
          <a:lstStyle>
            <a:lvl1pPr marL="0" indent="0" algn="l">
              <a:buNone/>
              <a:defRPr sz="25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Click to edit presentation subtitl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71540E4-5E43-3445-9361-342BABDD7B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508350"/>
            <a:ext cx="5919537" cy="1590307"/>
          </a:xfrm>
        </p:spPr>
        <p:txBody>
          <a:bodyPr>
            <a:spAutoFit/>
          </a:bodyPr>
          <a:lstStyle>
            <a:lvl1pPr>
              <a:lnSpc>
                <a:spcPts val="5700"/>
              </a:lnSpc>
              <a:defRPr sz="56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noProof="0" dirty="0"/>
              <a:t>Click to edit presentation tit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CF3CF69-76EA-4060-BE07-7A302777A3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5878800"/>
            <a:ext cx="11471638" cy="417600"/>
          </a:xfrm>
        </p:spPr>
        <p:txBody>
          <a:bodyPr tIns="0" rIns="0" bIns="0" anchor="b" anchorCtr="0"/>
          <a:lstStyle>
            <a:lvl1pPr marL="0" indent="0">
              <a:buNone/>
              <a:defRPr sz="14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r Investment Professionals onl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3903F41-670E-4CAE-A831-93406FD21313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  <a:br>
              <a:rPr lang="en-GB" dirty="0"/>
            </a:br>
            <a:r>
              <a:rPr lang="en-GB" dirty="0"/>
              <a:t>Apply Title Teal Layout</a:t>
            </a:r>
          </a:p>
        </p:txBody>
      </p:sp>
    </p:spTree>
    <p:extLst>
      <p:ext uri="{BB962C8B-B14F-4D97-AF65-F5344CB8AC3E}">
        <p14:creationId xmlns:p14="http://schemas.microsoft.com/office/powerpoint/2010/main" val="13126932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ral">
    <p:bg>
      <p:bgPr>
        <a:solidFill>
          <a:srgbClr val="EB5C3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hidden="1">
            <a:extLst>
              <a:ext uri="{FF2B5EF4-FFF2-40B4-BE49-F238E27FC236}">
                <a16:creationId xmlns:a16="http://schemas.microsoft.com/office/drawing/2014/main" id="{43427953-1048-47BD-8683-8003ABCC78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95052" y="2602800"/>
            <a:ext cx="2357096" cy="121196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9A3BDBFC-35BF-C640-A95A-DBE6DEE579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4400" y="4227680"/>
            <a:ext cx="5919537" cy="438582"/>
          </a:xfrm>
        </p:spPr>
        <p:txBody>
          <a:bodyPr wrap="square">
            <a:spAutoFit/>
          </a:bodyPr>
          <a:lstStyle>
            <a:lvl1pPr marL="0" indent="0" algn="l"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Click to edit presentation subtitl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71540E4-5E43-3445-9361-342BABDD7B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508350"/>
            <a:ext cx="5919537" cy="1590307"/>
          </a:xfrm>
        </p:spPr>
        <p:txBody>
          <a:bodyPr>
            <a:spAutoFit/>
          </a:bodyPr>
          <a:lstStyle>
            <a:lvl1pPr>
              <a:lnSpc>
                <a:spcPts val="5700"/>
              </a:lnSpc>
              <a:defRPr sz="5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noProof="0" dirty="0"/>
              <a:t>Click to edit presentation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C80422-230F-47CE-BBDE-1A532B20A0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5878800"/>
            <a:ext cx="7610475" cy="417600"/>
          </a:xfrm>
        </p:spPr>
        <p:txBody>
          <a:bodyPr tIns="0" rIns="0" bIns="0" anchor="b" anchorCtr="0"/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For Investment Professionals only (14pt Calibri Bold in Teal or White – Multiple 0.9 line spacing with 10 point space before)</a:t>
            </a:r>
          </a:p>
          <a:p>
            <a:pPr>
              <a:spcBef>
                <a:spcPts val="500"/>
              </a:spcBef>
            </a:pPr>
            <a:r>
              <a:rPr lang="en-GB" sz="1000" b="0" spc="-20" dirty="0"/>
              <a:t>If text to follow – 10pt Roman text in Teal, Multiple 0.9 line spacing with 5 point space before </a:t>
            </a:r>
          </a:p>
        </p:txBody>
      </p:sp>
      <p:pic>
        <p:nvPicPr>
          <p:cNvPr id="7" name="Graphic 6" hidden="1">
            <a:extLst>
              <a:ext uri="{FF2B5EF4-FFF2-40B4-BE49-F238E27FC236}">
                <a16:creationId xmlns:a16="http://schemas.microsoft.com/office/drawing/2014/main" id="{AF87E47F-4A1F-4049-A7D5-59ED19F74B7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0251" y="2611354"/>
            <a:ext cx="3560401" cy="1294691"/>
          </a:xfrm>
          <a:prstGeom prst="rect">
            <a:avLst/>
          </a:prstGeom>
        </p:spPr>
      </p:pic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EF7C01-5D19-4209-ABCC-26B74A0C43B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8618" y="2691606"/>
            <a:ext cx="1742401" cy="6336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B1D7E51-3179-44ED-A895-B397EED75D4C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  <a:br>
              <a:rPr lang="en-GB" dirty="0"/>
            </a:br>
            <a:r>
              <a:rPr lang="en-GB" dirty="0"/>
              <a:t>Apply Title Teal Layout</a:t>
            </a:r>
          </a:p>
        </p:txBody>
      </p:sp>
    </p:spTree>
    <p:extLst>
      <p:ext uri="{BB962C8B-B14F-4D97-AF65-F5344CB8AC3E}">
        <p14:creationId xmlns:p14="http://schemas.microsoft.com/office/powerpoint/2010/main" val="20674859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title of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D7B397-8663-3A48-AD9C-349EE7D16D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0001" y="1734085"/>
            <a:ext cx="5648688" cy="44095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BBD698-77A6-AD4C-890D-FCF16F15E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15063" y="1734085"/>
            <a:ext cx="5616574" cy="44095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8DAC6F2-8A9C-0648-95F9-AB4A7A7496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63" y="1230085"/>
            <a:ext cx="5648325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3844F85-D0E5-564A-AD0F-46B0A5587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5063" y="1230085"/>
            <a:ext cx="5616575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23790386-6418-4B23-8FAA-A6C8E5364C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46A85A8-9C28-4019-83A7-88BD43556AA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6DDBF8A0-1AC9-48BA-867B-744DA4DF02A4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149804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ight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hidden="1">
            <a:extLst>
              <a:ext uri="{FF2B5EF4-FFF2-40B4-BE49-F238E27FC236}">
                <a16:creationId xmlns:a16="http://schemas.microsoft.com/office/drawing/2014/main" id="{43427953-1048-47BD-8683-8003ABCC78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95052" y="2602800"/>
            <a:ext cx="2357096" cy="121196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9A3BDBFC-35BF-C640-A95A-DBE6DEE579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4400" y="4227680"/>
            <a:ext cx="5919537" cy="438582"/>
          </a:xfrm>
        </p:spPr>
        <p:txBody>
          <a:bodyPr wrap="square">
            <a:spAutoFit/>
          </a:bodyPr>
          <a:lstStyle>
            <a:lvl1pPr marL="0" indent="0" algn="l"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Click to edit presentation subtitl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71540E4-5E43-3445-9361-342BABDD7B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508350"/>
            <a:ext cx="5919537" cy="1590307"/>
          </a:xfrm>
        </p:spPr>
        <p:txBody>
          <a:bodyPr>
            <a:spAutoFit/>
          </a:bodyPr>
          <a:lstStyle>
            <a:lvl1pPr>
              <a:lnSpc>
                <a:spcPts val="5700"/>
              </a:lnSpc>
              <a:defRPr sz="5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noProof="0" dirty="0"/>
              <a:t>Click to edit presentation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C80422-230F-47CE-BBDE-1A532B20A0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5878800"/>
            <a:ext cx="7610475" cy="417600"/>
          </a:xfrm>
        </p:spPr>
        <p:txBody>
          <a:bodyPr tIns="0" rIns="0" bIns="0" anchor="b" anchorCtr="0"/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For Investment Professionals only (14pt Calibri Bold in Teal or White – Multiple 0.9 line spacing with 10 point space before)</a:t>
            </a:r>
          </a:p>
          <a:p>
            <a:pPr>
              <a:spcBef>
                <a:spcPts val="500"/>
              </a:spcBef>
            </a:pPr>
            <a:r>
              <a:rPr lang="en-GB" sz="1000" b="0" spc="-20" dirty="0"/>
              <a:t>If text to follow – 10pt Roman text in Teal, Multiple 0.9 line spacing with 5 point space before </a:t>
            </a:r>
          </a:p>
        </p:txBody>
      </p:sp>
      <p:pic>
        <p:nvPicPr>
          <p:cNvPr id="7" name="Graphic 6" hidden="1">
            <a:extLst>
              <a:ext uri="{FF2B5EF4-FFF2-40B4-BE49-F238E27FC236}">
                <a16:creationId xmlns:a16="http://schemas.microsoft.com/office/drawing/2014/main" id="{AF87E47F-4A1F-4049-A7D5-59ED19F74B7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0251" y="2611354"/>
            <a:ext cx="3560401" cy="1294691"/>
          </a:xfrm>
          <a:prstGeom prst="rect">
            <a:avLst/>
          </a:prstGeom>
        </p:spPr>
      </p:pic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EF7C01-5D19-4209-ABCC-26B74A0C43B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8618" y="2691606"/>
            <a:ext cx="1742401" cy="6336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50F7B2E-EA65-4CC9-8D8B-F0BA1606DCDD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  <a:br>
              <a:rPr lang="en-GB" dirty="0"/>
            </a:br>
            <a:r>
              <a:rPr lang="en-GB" dirty="0"/>
              <a:t>Apply Title Teal Layout</a:t>
            </a:r>
          </a:p>
        </p:txBody>
      </p:sp>
    </p:spTree>
    <p:extLst>
      <p:ext uri="{BB962C8B-B14F-4D97-AF65-F5344CB8AC3E}">
        <p14:creationId xmlns:p14="http://schemas.microsoft.com/office/powerpoint/2010/main" val="373843793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igh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hidden="1">
            <a:extLst>
              <a:ext uri="{FF2B5EF4-FFF2-40B4-BE49-F238E27FC236}">
                <a16:creationId xmlns:a16="http://schemas.microsoft.com/office/drawing/2014/main" id="{43427953-1048-47BD-8683-8003ABCC78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95052" y="2602800"/>
            <a:ext cx="2357096" cy="121196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9A3BDBFC-35BF-C640-A95A-DBE6DEE579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4400" y="4227680"/>
            <a:ext cx="5919537" cy="438582"/>
          </a:xfrm>
        </p:spPr>
        <p:txBody>
          <a:bodyPr wrap="square">
            <a:spAutoFit/>
          </a:bodyPr>
          <a:lstStyle>
            <a:lvl1pPr marL="0" indent="0" algn="l"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Click to edit presentation subtitl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71540E4-5E43-3445-9361-342BABDD7B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508350"/>
            <a:ext cx="5919537" cy="1590307"/>
          </a:xfrm>
        </p:spPr>
        <p:txBody>
          <a:bodyPr>
            <a:spAutoFit/>
          </a:bodyPr>
          <a:lstStyle>
            <a:lvl1pPr>
              <a:lnSpc>
                <a:spcPts val="5700"/>
              </a:lnSpc>
              <a:defRPr sz="5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noProof="0" dirty="0"/>
              <a:t>Click to edit presentation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C80422-230F-47CE-BBDE-1A532B20A0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5878800"/>
            <a:ext cx="7610475" cy="417600"/>
          </a:xfrm>
        </p:spPr>
        <p:txBody>
          <a:bodyPr tIns="0" rIns="0" bIns="0" anchor="b" anchorCtr="0"/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For Investment Professionals only (14pt Calibri Bold in Teal or White – Multiple 0.9 line spacing with 10 point space before)</a:t>
            </a:r>
          </a:p>
          <a:p>
            <a:pPr>
              <a:spcBef>
                <a:spcPts val="500"/>
              </a:spcBef>
            </a:pPr>
            <a:r>
              <a:rPr lang="en-GB" sz="1000" b="0" spc="-20" dirty="0"/>
              <a:t>If text to follow – 10pt Roman text in Teal, Multiple 0.9 line spacing with 5 point space before </a:t>
            </a:r>
          </a:p>
        </p:txBody>
      </p:sp>
      <p:pic>
        <p:nvPicPr>
          <p:cNvPr id="7" name="Graphic 6" hidden="1">
            <a:extLst>
              <a:ext uri="{FF2B5EF4-FFF2-40B4-BE49-F238E27FC236}">
                <a16:creationId xmlns:a16="http://schemas.microsoft.com/office/drawing/2014/main" id="{AF87E47F-4A1F-4049-A7D5-59ED19F74B7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0251" y="2611354"/>
            <a:ext cx="3560401" cy="1294691"/>
          </a:xfrm>
          <a:prstGeom prst="rect">
            <a:avLst/>
          </a:prstGeom>
        </p:spPr>
      </p:pic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EF7C01-5D19-4209-ABCC-26B74A0C43B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8618" y="2691606"/>
            <a:ext cx="1742401" cy="6336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18177E6-9EEC-4847-9CF9-BF10B0A59992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  <a:br>
              <a:rPr lang="en-GB" dirty="0"/>
            </a:br>
            <a:r>
              <a:rPr lang="en-GB" dirty="0"/>
              <a:t>Apply Title Teal Layout</a:t>
            </a:r>
          </a:p>
        </p:txBody>
      </p:sp>
    </p:spTree>
    <p:extLst>
      <p:ext uri="{BB962C8B-B14F-4D97-AF65-F5344CB8AC3E}">
        <p14:creationId xmlns:p14="http://schemas.microsoft.com/office/powerpoint/2010/main" val="357135771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Old Sty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439369"/>
            <a:ext cx="9031286" cy="902555"/>
          </a:xfrm>
        </p:spPr>
        <p:txBody>
          <a:bodyPr wrap="square" anchor="b" anchorCtr="0">
            <a:spAutoFit/>
          </a:bodyPr>
          <a:lstStyle>
            <a:lvl1pPr>
              <a:defRPr sz="585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ivider page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34401" y="3375369"/>
            <a:ext cx="9031286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Use for subheading (or delete)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C2FED3E-96C1-406B-8B03-7BD790A89A19}"/>
              </a:ext>
            </a:extLst>
          </p:cNvPr>
          <p:cNvSpPr/>
          <p:nvPr userDrawn="1"/>
        </p:nvSpPr>
        <p:spPr>
          <a:xfrm>
            <a:off x="645719" y="2849521"/>
            <a:ext cx="119483" cy="48422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 hidden="1">
            <a:extLst>
              <a:ext uri="{FF2B5EF4-FFF2-40B4-BE49-F238E27FC236}">
                <a16:creationId xmlns:a16="http://schemas.microsoft.com/office/drawing/2014/main" id="{E0F422D0-CC00-4B46-AFC3-69F436972B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7228" y="2844926"/>
            <a:ext cx="1195415" cy="618839"/>
          </a:xfrm>
          <a:prstGeom prst="rect">
            <a:avLst/>
          </a:prstGeom>
        </p:spPr>
      </p:pic>
      <p:pic>
        <p:nvPicPr>
          <p:cNvPr id="8" name="Graphic 7" hidden="1">
            <a:extLst>
              <a:ext uri="{FF2B5EF4-FFF2-40B4-BE49-F238E27FC236}">
                <a16:creationId xmlns:a16="http://schemas.microsoft.com/office/drawing/2014/main" id="{C981BB65-E87D-413E-A3D6-868DA04372A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618" y="2874964"/>
            <a:ext cx="1742401" cy="633600"/>
          </a:xfrm>
          <a:prstGeom prst="rect">
            <a:avLst/>
          </a:prstGeom>
        </p:spPr>
      </p:pic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60B323B1-5089-47A1-BFCC-0D489BD43B0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8618" y="2691606"/>
            <a:ext cx="1742401" cy="6336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27A5DE9-313B-41C1-8A87-9B124511F1E2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</p:txBody>
      </p:sp>
    </p:spTree>
    <p:extLst>
      <p:ext uri="{BB962C8B-B14F-4D97-AF65-F5344CB8AC3E}">
        <p14:creationId xmlns:p14="http://schemas.microsoft.com/office/powerpoint/2010/main" val="3636794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ld Sty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D774BA9-108B-4A61-879E-1D3D21CAC27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marL="180000" marR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ING A PHOTOGRAPH INTO THE BACKGROUND</a:t>
            </a:r>
            <a:br>
              <a:rPr lang="en-GB" dirty="0"/>
            </a:br>
            <a:r>
              <a:rPr lang="en-GB" dirty="0"/>
              <a:t>Right click on the edge of the grey area to select the picture placeholder. A drop down dialogue will appear. Select BRING TO FRONT. </a:t>
            </a:r>
            <a:br>
              <a:rPr lang="en-GB" dirty="0"/>
            </a:br>
            <a:r>
              <a:rPr lang="en-GB" dirty="0"/>
              <a:t>Click on the picture Icon in the middle of the screen to browse your PC to select a picture to insert. </a:t>
            </a:r>
            <a:br>
              <a:rPr lang="en-GB" dirty="0"/>
            </a:br>
            <a:r>
              <a:rPr lang="en-GB" dirty="0"/>
              <a:t>Double click on the file you want to insert and then right click on the edge of the picture and select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439369"/>
            <a:ext cx="9031286" cy="902555"/>
          </a:xfrm>
        </p:spPr>
        <p:txBody>
          <a:bodyPr wrap="square" anchor="b" anchorCtr="0">
            <a:spAutoFit/>
          </a:bodyPr>
          <a:lstStyle>
            <a:lvl1pPr>
              <a:defRPr sz="585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ivider page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34401" y="3375369"/>
            <a:ext cx="9031286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Use for subheading (or delete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B1801D8-F5AB-474F-A878-95F5609B574A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</p:txBody>
      </p:sp>
    </p:spTree>
    <p:extLst>
      <p:ext uri="{BB962C8B-B14F-4D97-AF65-F5344CB8AC3E}">
        <p14:creationId xmlns:p14="http://schemas.microsoft.com/office/powerpoint/2010/main" val="37684320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coral">
    <p:bg>
      <p:bgPr>
        <a:solidFill>
          <a:srgbClr val="EB5C3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45743397-E79C-4184-B414-45596879B5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8586" y="2871788"/>
            <a:ext cx="1200693" cy="61706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0" y="2439369"/>
            <a:ext cx="9031287" cy="902555"/>
          </a:xfrm>
        </p:spPr>
        <p:txBody>
          <a:bodyPr wrap="square" anchor="b" anchorCtr="0">
            <a:spAutoFit/>
          </a:bodyPr>
          <a:lstStyle>
            <a:lvl1pPr>
              <a:defRPr sz="585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Divider page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34400" y="3375369"/>
            <a:ext cx="9031287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Use for subheading (or delete)</a:t>
            </a:r>
          </a:p>
        </p:txBody>
      </p:sp>
      <p:pic>
        <p:nvPicPr>
          <p:cNvPr id="6" name="Graphic 5" hidden="1">
            <a:extLst>
              <a:ext uri="{FF2B5EF4-FFF2-40B4-BE49-F238E27FC236}">
                <a16:creationId xmlns:a16="http://schemas.microsoft.com/office/drawing/2014/main" id="{01255960-5F76-45A5-96FA-0E006674CF6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7188" y="2874963"/>
            <a:ext cx="1742400" cy="633600"/>
          </a:xfrm>
          <a:prstGeom prst="rect">
            <a:avLst/>
          </a:prstGeom>
        </p:spPr>
      </p:pic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44F0D818-D487-4592-A4E5-A3923714FC9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9912" y="2691607"/>
            <a:ext cx="1742401" cy="6336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DD0E128-26BB-451C-8912-3611D4911677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</p:txBody>
      </p:sp>
    </p:spTree>
    <p:extLst>
      <p:ext uri="{BB962C8B-B14F-4D97-AF65-F5344CB8AC3E}">
        <p14:creationId xmlns:p14="http://schemas.microsoft.com/office/powerpoint/2010/main" val="1660680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09">
          <p15:clr>
            <a:srgbClr val="FBAE40"/>
          </p15:clr>
        </p15:guide>
        <p15:guide id="2" orient="horz" pos="2109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Purple">
    <p:bg>
      <p:bgPr>
        <a:solidFill>
          <a:srgbClr val="7B76B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439369"/>
            <a:ext cx="9031286" cy="902555"/>
          </a:xfrm>
        </p:spPr>
        <p:txBody>
          <a:bodyPr wrap="square" anchor="b" anchorCtr="0">
            <a:spAutoFit/>
          </a:bodyPr>
          <a:lstStyle>
            <a:lvl1pPr>
              <a:defRPr sz="585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Divider page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34401" y="3375369"/>
            <a:ext cx="9031286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Use for subheading (or delete)</a:t>
            </a:r>
          </a:p>
        </p:txBody>
      </p:sp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AB580C90-1808-4992-BFFE-F740C13105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8586" y="2871788"/>
            <a:ext cx="1200693" cy="617065"/>
          </a:xfrm>
          <a:prstGeom prst="rect">
            <a:avLst/>
          </a:prstGeom>
        </p:spPr>
      </p:pic>
      <p:pic>
        <p:nvPicPr>
          <p:cNvPr id="6" name="Graphic 5" hidden="1">
            <a:extLst>
              <a:ext uri="{FF2B5EF4-FFF2-40B4-BE49-F238E27FC236}">
                <a16:creationId xmlns:a16="http://schemas.microsoft.com/office/drawing/2014/main" id="{D7E700BD-DC31-4749-BD5D-2D1470AD72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7188" y="2874963"/>
            <a:ext cx="1742400" cy="633600"/>
          </a:xfrm>
          <a:prstGeom prst="rect">
            <a:avLst/>
          </a:prstGeom>
        </p:spPr>
      </p:pic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3D876F7F-03F0-431D-8900-11B48A2741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9912" y="2691608"/>
            <a:ext cx="1742401" cy="6336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38314A9-4238-4D50-8FFC-E0EEBC313D2E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</p:txBody>
      </p:sp>
    </p:spTree>
    <p:extLst>
      <p:ext uri="{BB962C8B-B14F-4D97-AF65-F5344CB8AC3E}">
        <p14:creationId xmlns:p14="http://schemas.microsoft.com/office/powerpoint/2010/main" val="240815985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Coral RE">
    <p:bg>
      <p:bgPr>
        <a:solidFill>
          <a:srgbClr val="EB5C3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70" y="1228725"/>
            <a:ext cx="6480000" cy="1118630"/>
          </a:xfrm>
        </p:spPr>
        <p:txBody>
          <a:bodyPr wrap="square" anchor="b" anchorCtr="0">
            <a:noAutofit/>
          </a:bodyPr>
          <a:lstStyle>
            <a:lvl1pPr>
              <a:defRPr sz="585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Divider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9570" y="2380800"/>
            <a:ext cx="6480000" cy="4247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Divider subheading (or delete)</a:t>
            </a:r>
          </a:p>
        </p:txBody>
      </p:sp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C751E150-D939-4154-9CF1-45F6484F30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9569" y="548986"/>
            <a:ext cx="1200693" cy="617065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CF0D1BB-6C13-4620-BC6E-65E8787A0B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01951" y="0"/>
            <a:ext cx="4990049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ACDEA84-F2FE-497C-884C-5127148EC6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0362" y="2876550"/>
            <a:ext cx="6479207" cy="32670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9B29770-3E63-463E-9F05-A4DBE49A1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6600825"/>
            <a:ext cx="6478587" cy="150813"/>
          </a:xfrm>
        </p:spPr>
        <p:txBody>
          <a:bodyPr tIns="0" rIns="0" bIns="0" anchor="b" anchorCtr="0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tabLst/>
              <a:defRPr lang="en-US" sz="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180000" lvl="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tabLst/>
            </a:pPr>
            <a:r>
              <a:rPr lang="en-US" dirty="0"/>
              <a:t>Enter source here</a:t>
            </a:r>
          </a:p>
        </p:txBody>
      </p:sp>
      <p:pic>
        <p:nvPicPr>
          <p:cNvPr id="8" name="Graphic 7" hidden="1">
            <a:extLst>
              <a:ext uri="{FF2B5EF4-FFF2-40B4-BE49-F238E27FC236}">
                <a16:creationId xmlns:a16="http://schemas.microsoft.com/office/drawing/2014/main" id="{92A3C6FE-EF94-448A-A706-DC524C67A6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775" y="555674"/>
            <a:ext cx="1692901" cy="6156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33FEFB6F-AAA5-458B-8F23-9F7856D34BD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8774" y="360000"/>
            <a:ext cx="1742401" cy="6336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DE1296B-7435-4915-8B42-88242E7666BC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</p:txBody>
      </p:sp>
    </p:spTree>
    <p:extLst>
      <p:ext uri="{BB962C8B-B14F-4D97-AF65-F5344CB8AC3E}">
        <p14:creationId xmlns:p14="http://schemas.microsoft.com/office/powerpoint/2010/main" val="4265589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10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urple RE">
    <p:bg>
      <p:bgPr>
        <a:solidFill>
          <a:srgbClr val="7B76B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70" y="1228725"/>
            <a:ext cx="6480000" cy="1118630"/>
          </a:xfrm>
        </p:spPr>
        <p:txBody>
          <a:bodyPr wrap="square" anchor="b" anchorCtr="0">
            <a:noAutofit/>
          </a:bodyPr>
          <a:lstStyle>
            <a:lvl1pPr>
              <a:defRPr sz="585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Divider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9570" y="2380800"/>
            <a:ext cx="6480000" cy="4247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Divider subheading (or delete)</a:t>
            </a:r>
          </a:p>
        </p:txBody>
      </p:sp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C751E150-D939-4154-9CF1-45F6484F30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9569" y="548986"/>
            <a:ext cx="1200693" cy="617065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CF0D1BB-6C13-4620-BC6E-65E8787A0B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01951" y="0"/>
            <a:ext cx="4990049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ACDEA84-F2FE-497C-884C-5127148EC6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0362" y="2876550"/>
            <a:ext cx="6479207" cy="32670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9B29770-3E63-463E-9F05-A4DBE49A1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6600825"/>
            <a:ext cx="6478587" cy="150813"/>
          </a:xfrm>
        </p:spPr>
        <p:txBody>
          <a:bodyPr tIns="0" rIns="0" bIns="0" anchor="b" anchorCtr="0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tabLst/>
              <a:defRPr lang="en-US" sz="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180000" lvl="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tabLst/>
            </a:pPr>
            <a:r>
              <a:rPr lang="en-US" dirty="0"/>
              <a:t>Enter source here</a:t>
            </a:r>
          </a:p>
        </p:txBody>
      </p:sp>
      <p:pic>
        <p:nvPicPr>
          <p:cNvPr id="8" name="Graphic 7" hidden="1">
            <a:extLst>
              <a:ext uri="{FF2B5EF4-FFF2-40B4-BE49-F238E27FC236}">
                <a16:creationId xmlns:a16="http://schemas.microsoft.com/office/drawing/2014/main" id="{A7C60DD7-E881-48DC-87C4-1FC933C649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775" y="555674"/>
            <a:ext cx="1692901" cy="6156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9668CACE-0AE7-4B82-90FC-35F6FBBC50A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8774" y="360000"/>
            <a:ext cx="1742400" cy="6336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A78BD48-30A9-4DCE-9EE0-5A7F7A23C20C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</p:txBody>
      </p:sp>
    </p:spTree>
    <p:extLst>
      <p:ext uri="{BB962C8B-B14F-4D97-AF65-F5344CB8AC3E}">
        <p14:creationId xmlns:p14="http://schemas.microsoft.com/office/powerpoint/2010/main" val="1511573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1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Coral">
    <p:bg>
      <p:bgPr>
        <a:solidFill>
          <a:srgbClr val="EB5C3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2000" y="2812200"/>
            <a:ext cx="9031287" cy="729000"/>
          </a:xfrm>
        </p:spPr>
        <p:txBody>
          <a:bodyPr wrap="square" anchor="t">
            <a:sp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Quo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22000" y="5871600"/>
            <a:ext cx="9031287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Sourc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E15D270-4288-49C7-9D70-D8680EE1B4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</a:blip>
          <a:stretch>
            <a:fillRect/>
          </a:stretch>
        </p:blipFill>
        <p:spPr>
          <a:xfrm>
            <a:off x="2322000" y="1603672"/>
            <a:ext cx="1038380" cy="1049667"/>
          </a:xfrm>
          <a:prstGeom prst="rect">
            <a:avLst/>
          </a:prstGeom>
        </p:spPr>
      </p:pic>
      <p:pic>
        <p:nvPicPr>
          <p:cNvPr id="9" name="Picture 8" hidden="1">
            <a:extLst>
              <a:ext uri="{FF2B5EF4-FFF2-40B4-BE49-F238E27FC236}">
                <a16:creationId xmlns:a16="http://schemas.microsoft.com/office/drawing/2014/main" id="{9683DE43-0202-4A71-AC72-DD3A2CCD1C5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1597" y="338400"/>
            <a:ext cx="1674000" cy="860729"/>
          </a:xfrm>
          <a:prstGeom prst="rect">
            <a:avLst/>
          </a:prstGeom>
        </p:spPr>
      </p:pic>
      <p:pic>
        <p:nvPicPr>
          <p:cNvPr id="7" name="Graphic 6" hidden="1">
            <a:extLst>
              <a:ext uri="{FF2B5EF4-FFF2-40B4-BE49-F238E27FC236}">
                <a16:creationId xmlns:a16="http://schemas.microsoft.com/office/drawing/2014/main" id="{88825A2D-BDF0-43F0-ACBE-DAD064E041E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1155" y="350878"/>
            <a:ext cx="1861200" cy="676800"/>
          </a:xfrm>
          <a:prstGeom prst="rect">
            <a:avLst/>
          </a:prstGeom>
        </p:spPr>
      </p:pic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2E7C120C-3A45-499C-98B7-76D1825AF4E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8774" y="360000"/>
            <a:ext cx="1742401" cy="6336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151722F-502C-4DAB-92DE-1429D14463BB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</p:txBody>
      </p:sp>
    </p:spTree>
    <p:extLst>
      <p:ext uri="{BB962C8B-B14F-4D97-AF65-F5344CB8AC3E}">
        <p14:creationId xmlns:p14="http://schemas.microsoft.com/office/powerpoint/2010/main" val="16218921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blue">
    <p:bg>
      <p:bgPr>
        <a:solidFill>
          <a:srgbClr val="17B0A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1999" y="2812200"/>
            <a:ext cx="9031286" cy="729000"/>
          </a:xfrm>
        </p:spPr>
        <p:txBody>
          <a:bodyPr wrap="square" anchor="t">
            <a:sp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Quo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32800" y="5871600"/>
            <a:ext cx="9031287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Source</a:t>
            </a:r>
          </a:p>
        </p:txBody>
      </p:sp>
      <p:pic>
        <p:nvPicPr>
          <p:cNvPr id="7" name="Picture 6" hidden="1">
            <a:extLst>
              <a:ext uri="{FF2B5EF4-FFF2-40B4-BE49-F238E27FC236}">
                <a16:creationId xmlns:a16="http://schemas.microsoft.com/office/drawing/2014/main" id="{224B7B8E-481D-4C83-8B19-CC0558055BA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992" y="336592"/>
            <a:ext cx="1672741" cy="864393"/>
          </a:xfrm>
          <a:prstGeom prst="rect">
            <a:avLst/>
          </a:prstGeom>
        </p:spPr>
      </p:pic>
      <p:pic>
        <p:nvPicPr>
          <p:cNvPr id="12" name="Graphic 11" hidden="1">
            <a:extLst>
              <a:ext uri="{FF2B5EF4-FFF2-40B4-BE49-F238E27FC236}">
                <a16:creationId xmlns:a16="http://schemas.microsoft.com/office/drawing/2014/main" id="{25F9ADE3-9836-4603-88A8-C4031B1FCE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1155" y="350878"/>
            <a:ext cx="1861200" cy="6768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DD32F33-7A93-4CF7-8C19-54B5B6597D2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biLevel thresh="25000"/>
          </a:blip>
          <a:stretch>
            <a:fillRect/>
          </a:stretch>
        </p:blipFill>
        <p:spPr>
          <a:xfrm>
            <a:off x="2322000" y="1603672"/>
            <a:ext cx="1038380" cy="1049667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6B2851B0-D410-49D8-8528-1DC87C3607A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8774" y="360000"/>
            <a:ext cx="1742401" cy="6336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A0E48A9-6727-4104-824B-1E522A9236AC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</p:txBody>
      </p:sp>
    </p:spTree>
    <p:extLst>
      <p:ext uri="{BB962C8B-B14F-4D97-AF65-F5344CB8AC3E}">
        <p14:creationId xmlns:p14="http://schemas.microsoft.com/office/powerpoint/2010/main" val="40685738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 noProof="0"/>
              <a:t>Click to edit title of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D7B397-8663-3A48-AD9C-349EE7D16D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0001" y="1231199"/>
            <a:ext cx="5648688" cy="4912425"/>
          </a:xfrm>
          <a:solidFill>
            <a:srgbClr val="DDE0E3"/>
          </a:solidFill>
        </p:spPr>
        <p:txBody>
          <a:bodyPr lIns="144000" tIns="144000" rIns="144000" b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BBD698-77A6-AD4C-890D-FCF16F15E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15063" y="1231199"/>
            <a:ext cx="5616574" cy="4912425"/>
          </a:xfrm>
          <a:solidFill>
            <a:srgbClr val="DDE0E3"/>
          </a:solidFill>
        </p:spPr>
        <p:txBody>
          <a:bodyPr lIns="144000" tIns="144000" rIns="144000" b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D937E6D-BC0D-4836-B866-D6803A5E1A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D97334F-A944-4126-91EA-9A6BB3BEA4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AE784C57-9AE9-4FE1-9D13-83252DF212D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094400" y="0"/>
            <a:ext cx="1757362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44297283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green">
    <p:bg>
      <p:bgPr>
        <a:solidFill>
          <a:srgbClr val="E58E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1999" y="2812200"/>
            <a:ext cx="9031286" cy="729000"/>
          </a:xfrm>
        </p:spPr>
        <p:txBody>
          <a:bodyPr wrap="square" anchor="t">
            <a:sp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Quo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32800" y="5871600"/>
            <a:ext cx="9031287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Source</a:t>
            </a:r>
          </a:p>
        </p:txBody>
      </p:sp>
      <p:pic>
        <p:nvPicPr>
          <p:cNvPr id="7" name="Picture 6" hidden="1">
            <a:extLst>
              <a:ext uri="{FF2B5EF4-FFF2-40B4-BE49-F238E27FC236}">
                <a16:creationId xmlns:a16="http://schemas.microsoft.com/office/drawing/2014/main" id="{00FA3855-5816-483A-820D-CB7454F8B2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1597" y="338400"/>
            <a:ext cx="1674000" cy="860729"/>
          </a:xfrm>
          <a:prstGeom prst="rect">
            <a:avLst/>
          </a:prstGeom>
        </p:spPr>
      </p:pic>
      <p:pic>
        <p:nvPicPr>
          <p:cNvPr id="8" name="Graphic 7" hidden="1">
            <a:extLst>
              <a:ext uri="{FF2B5EF4-FFF2-40B4-BE49-F238E27FC236}">
                <a16:creationId xmlns:a16="http://schemas.microsoft.com/office/drawing/2014/main" id="{A80E70B3-FB6A-4205-801F-B7E240ACAA7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1155" y="350878"/>
            <a:ext cx="1861200" cy="6768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CD392BE-A4A7-4C05-9EF1-A6CCFDFB80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biLevel thresh="25000"/>
          </a:blip>
          <a:stretch>
            <a:fillRect/>
          </a:stretch>
        </p:blipFill>
        <p:spPr>
          <a:xfrm>
            <a:off x="2322000" y="1603672"/>
            <a:ext cx="1038380" cy="1049667"/>
          </a:xfrm>
          <a:prstGeom prst="rect">
            <a:avLst/>
          </a:prstGeom>
        </p:spPr>
      </p:pic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E06E8B72-1EDD-4EB8-B3F3-DCF1C4C19E9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8774" y="360000"/>
            <a:ext cx="1742401" cy="6336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CAFB094-E1FC-43CB-80B8-5C45C1A19DB8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</p:txBody>
      </p:sp>
    </p:spTree>
    <p:extLst>
      <p:ext uri="{BB962C8B-B14F-4D97-AF65-F5344CB8AC3E}">
        <p14:creationId xmlns:p14="http://schemas.microsoft.com/office/powerpoint/2010/main" val="228421661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Click to edit title of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Footer Text here if required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US" smtClean="0"/>
              <a:t>‹#›</a:t>
            </a:fld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8BCF627-9B1A-4433-BDF1-E3FAB03F3F9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61366" y="368735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94A42B3-386F-4570-AF77-B09584A4EDB3}"/>
              </a:ext>
            </a:extLst>
          </p:cNvPr>
          <p:cNvCxnSpPr>
            <a:cxnSpLocks/>
          </p:cNvCxnSpPr>
          <p:nvPr userDrawn="1"/>
        </p:nvCxnSpPr>
        <p:spPr>
          <a:xfrm flipV="1">
            <a:off x="3818275" y="3425466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0D959B6-B882-4748-BFB2-A4FB2158BE62}"/>
              </a:ext>
            </a:extLst>
          </p:cNvPr>
          <p:cNvCxnSpPr>
            <a:cxnSpLocks/>
          </p:cNvCxnSpPr>
          <p:nvPr userDrawn="1"/>
        </p:nvCxnSpPr>
        <p:spPr>
          <a:xfrm flipV="1">
            <a:off x="4575184" y="368735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4815102-2641-453E-833D-D8FB5536C9ED}"/>
              </a:ext>
            </a:extLst>
          </p:cNvPr>
          <p:cNvCxnSpPr>
            <a:cxnSpLocks/>
          </p:cNvCxnSpPr>
          <p:nvPr userDrawn="1"/>
        </p:nvCxnSpPr>
        <p:spPr>
          <a:xfrm flipV="1">
            <a:off x="5332093" y="3425466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517067F-C719-43C2-9A62-B3C3D555939F}"/>
              </a:ext>
            </a:extLst>
          </p:cNvPr>
          <p:cNvCxnSpPr>
            <a:cxnSpLocks/>
          </p:cNvCxnSpPr>
          <p:nvPr userDrawn="1"/>
        </p:nvCxnSpPr>
        <p:spPr>
          <a:xfrm flipV="1">
            <a:off x="6089002" y="368735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2760275-CA83-4E5F-8AC7-CEF35CDF3259}"/>
              </a:ext>
            </a:extLst>
          </p:cNvPr>
          <p:cNvCxnSpPr>
            <a:cxnSpLocks/>
          </p:cNvCxnSpPr>
          <p:nvPr userDrawn="1"/>
        </p:nvCxnSpPr>
        <p:spPr>
          <a:xfrm flipV="1">
            <a:off x="6845911" y="3425466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15A3289-08E1-42E1-A8E7-558A109E7B20}"/>
              </a:ext>
            </a:extLst>
          </p:cNvPr>
          <p:cNvCxnSpPr>
            <a:cxnSpLocks/>
          </p:cNvCxnSpPr>
          <p:nvPr userDrawn="1"/>
        </p:nvCxnSpPr>
        <p:spPr>
          <a:xfrm flipV="1">
            <a:off x="7602820" y="368735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F6B6689-405C-4F99-B18D-14B6FFC05438}"/>
              </a:ext>
            </a:extLst>
          </p:cNvPr>
          <p:cNvCxnSpPr>
            <a:cxnSpLocks/>
          </p:cNvCxnSpPr>
          <p:nvPr userDrawn="1"/>
        </p:nvCxnSpPr>
        <p:spPr>
          <a:xfrm flipV="1">
            <a:off x="8359729" y="3425466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D354C0A-99FA-4D65-BC96-696B65A17BD6}"/>
              </a:ext>
            </a:extLst>
          </p:cNvPr>
          <p:cNvCxnSpPr>
            <a:cxnSpLocks/>
          </p:cNvCxnSpPr>
          <p:nvPr userDrawn="1"/>
        </p:nvCxnSpPr>
        <p:spPr>
          <a:xfrm flipV="1">
            <a:off x="9116638" y="368735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012335-8D32-4874-A96B-5ECF744338FC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30456" y="368735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CCFECC2-CAF0-42FE-AB0A-86EF6A2F3F1E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2304457" y="3425466"/>
            <a:ext cx="1591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FA0EBC2-B451-4574-B391-E3AD65FEE8C2}"/>
              </a:ext>
            </a:extLst>
          </p:cNvPr>
          <p:cNvCxnSpPr>
            <a:cxnSpLocks/>
          </p:cNvCxnSpPr>
          <p:nvPr userDrawn="1"/>
        </p:nvCxnSpPr>
        <p:spPr>
          <a:xfrm flipV="1">
            <a:off x="9873547" y="3425466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41E5E33B-7E1B-4C9A-923E-05A72013E6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47548" y="2386581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70EC5FA-DF6B-4761-87C7-3BD98B4F5B43}"/>
              </a:ext>
            </a:extLst>
          </p:cNvPr>
          <p:cNvCxnSpPr>
            <a:cxnSpLocks/>
          </p:cNvCxnSpPr>
          <p:nvPr userDrawn="1"/>
        </p:nvCxnSpPr>
        <p:spPr>
          <a:xfrm>
            <a:off x="988168" y="3687355"/>
            <a:ext cx="10633076" cy="0"/>
          </a:xfrm>
          <a:prstGeom prst="line">
            <a:avLst/>
          </a:prstGeom>
          <a:ln w="50800" cap="rnd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AEBE50A6-2B6E-45D1-B02D-F21587E3A4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061366" y="2386581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618B6BC9-5474-42FF-B42C-57702244466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75184" y="2386581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C1D2A1A7-37B8-4B6A-BE55-666685973E7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89002" y="2386581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CDFFFA45-7FAD-4515-9DB2-9B963F2744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13431" y="2386581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023424D7-92EF-48CA-8D74-122054073E9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127249" y="2386581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A20F9461-9AA2-4A61-85DA-A7CC8D419DD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304457" y="3958869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26B9587E-7FD0-4462-8A18-70AD1CB183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18275" y="3958869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14A68AF4-7308-4EB8-BC50-D2B2571B8C6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332093" y="3958869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0E7A4446-B482-4936-85FD-6335C705960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45911" y="3958869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BF651D25-E3A2-4321-894C-73AE1E67BB9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70340" y="3958869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1CAD672-0E7B-4BD3-8623-0A35A7E0D4F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84158" y="3958869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9D9C7701-BC81-4209-BA62-C5AE9523BE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D68EBF29-EBBE-4B23-AA87-F8FCC060DA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C8DDA92-E15B-4D1C-8E39-40094449668B}"/>
              </a:ext>
            </a:extLst>
          </p:cNvPr>
          <p:cNvGrpSpPr/>
          <p:nvPr userDrawn="1"/>
        </p:nvGrpSpPr>
        <p:grpSpPr>
          <a:xfrm>
            <a:off x="612000" y="3180870"/>
            <a:ext cx="1014669" cy="1014669"/>
            <a:chOff x="612000" y="3051005"/>
            <a:chExt cx="1014669" cy="1014669"/>
          </a:xfrm>
          <a:solidFill>
            <a:schemeClr val="accent3"/>
          </a:solidFill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EA95000-C471-4B0C-957A-FC55132590F0}"/>
                </a:ext>
              </a:extLst>
            </p:cNvPr>
            <p:cNvSpPr/>
            <p:nvPr userDrawn="1"/>
          </p:nvSpPr>
          <p:spPr>
            <a:xfrm>
              <a:off x="612000" y="3051005"/>
              <a:ext cx="1014669" cy="101466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7C01F667-5426-4AE9-947C-DEAC1F244AC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829112" y="3285976"/>
              <a:ext cx="560750" cy="523778"/>
            </a:xfrm>
            <a:prstGeom prst="rect">
              <a:avLst/>
            </a:prstGeom>
            <a:solidFill>
              <a:schemeClr val="tx2"/>
            </a:solidFill>
          </p:spPr>
        </p:pic>
      </p:grpSp>
      <p:sp>
        <p:nvSpPr>
          <p:cNvPr id="50" name="Date Placeholder 3">
            <a:extLst>
              <a:ext uri="{FF2B5EF4-FFF2-40B4-BE49-F238E27FC236}">
                <a16:creationId xmlns:a16="http://schemas.microsoft.com/office/drawing/2014/main" id="{127DD8E0-5DA3-4385-BBF3-0AC643D49A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884458C-24E4-439F-AECA-B30E4117088F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  <a:p>
            <a:pPr algn="ctr">
              <a:lnSpc>
                <a:spcPct val="150000"/>
              </a:lnSpc>
            </a:pPr>
            <a:r>
              <a:rPr lang="en-GB" dirty="0"/>
              <a:t>Apply Layout Timeline coral</a:t>
            </a:r>
          </a:p>
        </p:txBody>
      </p:sp>
    </p:spTree>
    <p:extLst>
      <p:ext uri="{BB962C8B-B14F-4D97-AF65-F5344CB8AC3E}">
        <p14:creationId xmlns:p14="http://schemas.microsoft.com/office/powerpoint/2010/main" val="23862251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7474 -1.48148E-6 L 2.70833E-6 -1.48148E-6 " pathEditMode="relative" rAng="0" ptsTypes="AA">
                                      <p:cBhvr>
                                        <p:cTn id="9" dur="1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3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Click to edit title of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Footer Text here if required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US" smtClean="0"/>
              <a:t>‹#›</a:t>
            </a:fld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8BCF627-9B1A-4433-BDF1-E3FAB03F3F9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61366" y="3686878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94A42B3-386F-4570-AF77-B09584A4EDB3}"/>
              </a:ext>
            </a:extLst>
          </p:cNvPr>
          <p:cNvCxnSpPr>
            <a:cxnSpLocks/>
          </p:cNvCxnSpPr>
          <p:nvPr userDrawn="1"/>
        </p:nvCxnSpPr>
        <p:spPr>
          <a:xfrm flipV="1">
            <a:off x="3818275" y="3424989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0D959B6-B882-4748-BFB2-A4FB2158BE62}"/>
              </a:ext>
            </a:extLst>
          </p:cNvPr>
          <p:cNvCxnSpPr>
            <a:cxnSpLocks/>
          </p:cNvCxnSpPr>
          <p:nvPr userDrawn="1"/>
        </p:nvCxnSpPr>
        <p:spPr>
          <a:xfrm flipV="1">
            <a:off x="4575184" y="3686878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4815102-2641-453E-833D-D8FB5536C9ED}"/>
              </a:ext>
            </a:extLst>
          </p:cNvPr>
          <p:cNvCxnSpPr>
            <a:cxnSpLocks/>
          </p:cNvCxnSpPr>
          <p:nvPr userDrawn="1"/>
        </p:nvCxnSpPr>
        <p:spPr>
          <a:xfrm flipV="1">
            <a:off x="5332093" y="3424989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517067F-C719-43C2-9A62-B3C3D555939F}"/>
              </a:ext>
            </a:extLst>
          </p:cNvPr>
          <p:cNvCxnSpPr>
            <a:cxnSpLocks/>
          </p:cNvCxnSpPr>
          <p:nvPr userDrawn="1"/>
        </p:nvCxnSpPr>
        <p:spPr>
          <a:xfrm flipV="1">
            <a:off x="6089002" y="3686878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2760275-CA83-4E5F-8AC7-CEF35CDF3259}"/>
              </a:ext>
            </a:extLst>
          </p:cNvPr>
          <p:cNvCxnSpPr>
            <a:cxnSpLocks/>
          </p:cNvCxnSpPr>
          <p:nvPr userDrawn="1"/>
        </p:nvCxnSpPr>
        <p:spPr>
          <a:xfrm flipV="1">
            <a:off x="6845911" y="3424989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15A3289-08E1-42E1-A8E7-558A109E7B20}"/>
              </a:ext>
            </a:extLst>
          </p:cNvPr>
          <p:cNvCxnSpPr>
            <a:cxnSpLocks/>
          </p:cNvCxnSpPr>
          <p:nvPr userDrawn="1"/>
        </p:nvCxnSpPr>
        <p:spPr>
          <a:xfrm flipV="1">
            <a:off x="7602820" y="3686878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F6B6689-405C-4F99-B18D-14B6FFC05438}"/>
              </a:ext>
            </a:extLst>
          </p:cNvPr>
          <p:cNvCxnSpPr>
            <a:cxnSpLocks/>
          </p:cNvCxnSpPr>
          <p:nvPr userDrawn="1"/>
        </p:nvCxnSpPr>
        <p:spPr>
          <a:xfrm flipV="1">
            <a:off x="8359729" y="3424989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D354C0A-99FA-4D65-BC96-696B65A17BD6}"/>
              </a:ext>
            </a:extLst>
          </p:cNvPr>
          <p:cNvCxnSpPr>
            <a:cxnSpLocks/>
          </p:cNvCxnSpPr>
          <p:nvPr userDrawn="1"/>
        </p:nvCxnSpPr>
        <p:spPr>
          <a:xfrm flipV="1">
            <a:off x="9116638" y="3686878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012335-8D32-4874-A96B-5ECF744338FC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30456" y="3686878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CCFECC2-CAF0-42FE-AB0A-86EF6A2F3F1E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2304457" y="3424989"/>
            <a:ext cx="1591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FA0EBC2-B451-4574-B391-E3AD65FEE8C2}"/>
              </a:ext>
            </a:extLst>
          </p:cNvPr>
          <p:cNvCxnSpPr>
            <a:cxnSpLocks/>
          </p:cNvCxnSpPr>
          <p:nvPr userDrawn="1"/>
        </p:nvCxnSpPr>
        <p:spPr>
          <a:xfrm flipV="1">
            <a:off x="9873547" y="3424989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41E5E33B-7E1B-4C9A-923E-05A72013E6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47548" y="2386104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70EC5FA-DF6B-4761-87C7-3BD98B4F5B43}"/>
              </a:ext>
            </a:extLst>
          </p:cNvPr>
          <p:cNvCxnSpPr>
            <a:cxnSpLocks/>
          </p:cNvCxnSpPr>
          <p:nvPr userDrawn="1"/>
        </p:nvCxnSpPr>
        <p:spPr>
          <a:xfrm>
            <a:off x="988168" y="3686878"/>
            <a:ext cx="10633076" cy="0"/>
          </a:xfrm>
          <a:prstGeom prst="line">
            <a:avLst/>
          </a:prstGeom>
          <a:ln w="50800" cap="rnd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AEBE50A6-2B6E-45D1-B02D-F21587E3A4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061366" y="2386104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618B6BC9-5474-42FF-B42C-57702244466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75184" y="2386104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C1D2A1A7-37B8-4B6A-BE55-666685973E7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89002" y="2386104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CDFFFA45-7FAD-4515-9DB2-9B963F2744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13431" y="2386104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023424D7-92EF-48CA-8D74-122054073E9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127249" y="2386104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A20F9461-9AA2-4A61-85DA-A7CC8D419DD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304457" y="3958392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26B9587E-7FD0-4462-8A18-70AD1CB183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18275" y="3958392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14A68AF4-7308-4EB8-BC50-D2B2571B8C6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332093" y="3958392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0E7A4446-B482-4936-85FD-6335C705960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45911" y="3958392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BF651D25-E3A2-4321-894C-73AE1E67BB9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70340" y="3958392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1CAD672-0E7B-4BD3-8623-0A35A7E0D4F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84158" y="3958392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7A0D7C68-A836-4D1B-811C-E75D69454E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081CC878-67CE-4AD3-87AB-A0FDEE9A70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1D16C27-605D-4E7E-AC55-4D7D5AE9D49D}"/>
              </a:ext>
            </a:extLst>
          </p:cNvPr>
          <p:cNvGrpSpPr/>
          <p:nvPr userDrawn="1"/>
        </p:nvGrpSpPr>
        <p:grpSpPr>
          <a:xfrm>
            <a:off x="612000" y="3180393"/>
            <a:ext cx="1014669" cy="1014669"/>
            <a:chOff x="612000" y="3051005"/>
            <a:chExt cx="1014669" cy="1014669"/>
          </a:xfrm>
          <a:solidFill>
            <a:srgbClr val="17B0AD"/>
          </a:solidFill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CB8CA531-635D-41E7-8C77-B91A8943ABD7}"/>
                </a:ext>
              </a:extLst>
            </p:cNvPr>
            <p:cNvSpPr/>
            <p:nvPr userDrawn="1"/>
          </p:nvSpPr>
          <p:spPr>
            <a:xfrm>
              <a:off x="612000" y="3051005"/>
              <a:ext cx="1014669" cy="101466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2B9B9050-DE0C-4FC6-9FFF-7B83CE42EB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829112" y="3285976"/>
              <a:ext cx="560750" cy="523778"/>
            </a:xfrm>
            <a:prstGeom prst="rect">
              <a:avLst/>
            </a:prstGeom>
            <a:solidFill>
              <a:srgbClr val="17B0AD"/>
            </a:solidFill>
          </p:spPr>
        </p:pic>
      </p:grpSp>
      <p:sp>
        <p:nvSpPr>
          <p:cNvPr id="50" name="Date Placeholder 3">
            <a:extLst>
              <a:ext uri="{FF2B5EF4-FFF2-40B4-BE49-F238E27FC236}">
                <a16:creationId xmlns:a16="http://schemas.microsoft.com/office/drawing/2014/main" id="{C565DD05-A32D-48EF-8E35-3AA300A553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9D6161C-7F84-46B4-9AFA-50CF33188DD8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pply Layout Timeline coral</a:t>
            </a:r>
          </a:p>
        </p:txBody>
      </p:sp>
    </p:spTree>
    <p:extLst>
      <p:ext uri="{BB962C8B-B14F-4D97-AF65-F5344CB8AC3E}">
        <p14:creationId xmlns:p14="http://schemas.microsoft.com/office/powerpoint/2010/main" val="39660128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7474 0 L 2.70833E-6 0 " pathEditMode="relative" rAng="0" ptsTypes="AA">
                                      <p:cBhvr>
                                        <p:cTn id="9" dur="1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3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Click to edit title of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Footer Text here if required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US" smtClean="0"/>
              <a:t>‹#›</a:t>
            </a:fld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8BCF627-9B1A-4433-BDF1-E3FAB03F3F9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61366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94A42B3-386F-4570-AF77-B09584A4EDB3}"/>
              </a:ext>
            </a:extLst>
          </p:cNvPr>
          <p:cNvCxnSpPr>
            <a:cxnSpLocks/>
          </p:cNvCxnSpPr>
          <p:nvPr userDrawn="1"/>
        </p:nvCxnSpPr>
        <p:spPr>
          <a:xfrm flipV="1">
            <a:off x="3818275" y="342546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0D959B6-B882-4748-BFB2-A4FB2158BE62}"/>
              </a:ext>
            </a:extLst>
          </p:cNvPr>
          <p:cNvCxnSpPr>
            <a:cxnSpLocks/>
          </p:cNvCxnSpPr>
          <p:nvPr userDrawn="1"/>
        </p:nvCxnSpPr>
        <p:spPr>
          <a:xfrm flipV="1">
            <a:off x="4575184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4815102-2641-453E-833D-D8FB5536C9ED}"/>
              </a:ext>
            </a:extLst>
          </p:cNvPr>
          <p:cNvCxnSpPr>
            <a:cxnSpLocks/>
          </p:cNvCxnSpPr>
          <p:nvPr userDrawn="1"/>
        </p:nvCxnSpPr>
        <p:spPr>
          <a:xfrm flipV="1">
            <a:off x="5332093" y="342546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517067F-C719-43C2-9A62-B3C3D555939F}"/>
              </a:ext>
            </a:extLst>
          </p:cNvPr>
          <p:cNvCxnSpPr>
            <a:cxnSpLocks/>
          </p:cNvCxnSpPr>
          <p:nvPr userDrawn="1"/>
        </p:nvCxnSpPr>
        <p:spPr>
          <a:xfrm flipV="1">
            <a:off x="6089002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2760275-CA83-4E5F-8AC7-CEF35CDF3259}"/>
              </a:ext>
            </a:extLst>
          </p:cNvPr>
          <p:cNvCxnSpPr>
            <a:cxnSpLocks/>
          </p:cNvCxnSpPr>
          <p:nvPr userDrawn="1"/>
        </p:nvCxnSpPr>
        <p:spPr>
          <a:xfrm flipV="1">
            <a:off x="6845911" y="342546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15A3289-08E1-42E1-A8E7-558A109E7B20}"/>
              </a:ext>
            </a:extLst>
          </p:cNvPr>
          <p:cNvCxnSpPr>
            <a:cxnSpLocks/>
          </p:cNvCxnSpPr>
          <p:nvPr userDrawn="1"/>
        </p:nvCxnSpPr>
        <p:spPr>
          <a:xfrm flipV="1">
            <a:off x="7602820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F6B6689-405C-4F99-B18D-14B6FFC05438}"/>
              </a:ext>
            </a:extLst>
          </p:cNvPr>
          <p:cNvCxnSpPr>
            <a:cxnSpLocks/>
          </p:cNvCxnSpPr>
          <p:nvPr userDrawn="1"/>
        </p:nvCxnSpPr>
        <p:spPr>
          <a:xfrm flipV="1">
            <a:off x="8359729" y="342546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D354C0A-99FA-4D65-BC96-696B65A17BD6}"/>
              </a:ext>
            </a:extLst>
          </p:cNvPr>
          <p:cNvCxnSpPr>
            <a:cxnSpLocks/>
          </p:cNvCxnSpPr>
          <p:nvPr userDrawn="1"/>
        </p:nvCxnSpPr>
        <p:spPr>
          <a:xfrm flipV="1">
            <a:off x="9116638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012335-8D32-4874-A96B-5ECF744338FC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30456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CCFECC2-CAF0-42FE-AB0A-86EF6A2F3F1E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2304457" y="3425465"/>
            <a:ext cx="1591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FA0EBC2-B451-4574-B391-E3AD65FEE8C2}"/>
              </a:ext>
            </a:extLst>
          </p:cNvPr>
          <p:cNvCxnSpPr>
            <a:cxnSpLocks/>
          </p:cNvCxnSpPr>
          <p:nvPr userDrawn="1"/>
        </p:nvCxnSpPr>
        <p:spPr>
          <a:xfrm flipV="1">
            <a:off x="9873547" y="342546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41E5E33B-7E1B-4C9A-923E-05A72013E6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47548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70EC5FA-DF6B-4761-87C7-3BD98B4F5B43}"/>
              </a:ext>
            </a:extLst>
          </p:cNvPr>
          <p:cNvCxnSpPr>
            <a:cxnSpLocks/>
          </p:cNvCxnSpPr>
          <p:nvPr userDrawn="1"/>
        </p:nvCxnSpPr>
        <p:spPr>
          <a:xfrm>
            <a:off x="988168" y="3687354"/>
            <a:ext cx="10633076" cy="0"/>
          </a:xfrm>
          <a:prstGeom prst="line">
            <a:avLst/>
          </a:prstGeom>
          <a:ln w="50800" cap="rnd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AEBE50A6-2B6E-45D1-B02D-F21587E3A4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061366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618B6BC9-5474-42FF-B42C-57702244466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75184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C1D2A1A7-37B8-4B6A-BE55-666685973E7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89002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CDFFFA45-7FAD-4515-9DB2-9B963F2744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13431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023424D7-92EF-48CA-8D74-122054073E9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127249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A20F9461-9AA2-4A61-85DA-A7CC8D419DD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304457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26B9587E-7FD0-4462-8A18-70AD1CB183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18275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14A68AF4-7308-4EB8-BC50-D2B2571B8C6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332093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0E7A4446-B482-4936-85FD-6335C705960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45911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BF651D25-E3A2-4321-894C-73AE1E67BB9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70340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1CAD672-0E7B-4BD3-8623-0A35A7E0D4F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84158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8A084297-1068-4B99-BF9D-F3571A8FC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F3453419-06FA-4FBD-A800-0565DFBBAE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D6BD2F34-AED7-4628-ADDC-BF6E222F9EE5}"/>
              </a:ext>
            </a:extLst>
          </p:cNvPr>
          <p:cNvGrpSpPr/>
          <p:nvPr userDrawn="1"/>
        </p:nvGrpSpPr>
        <p:grpSpPr>
          <a:xfrm>
            <a:off x="612000" y="3180869"/>
            <a:ext cx="1014669" cy="1014669"/>
            <a:chOff x="612000" y="3051005"/>
            <a:chExt cx="1014669" cy="1014669"/>
          </a:xfrm>
          <a:solidFill>
            <a:srgbClr val="7DBD5F"/>
          </a:solidFill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26C1EEF0-C715-4111-BC8B-FE76952349C4}"/>
                </a:ext>
              </a:extLst>
            </p:cNvPr>
            <p:cNvSpPr/>
            <p:nvPr userDrawn="1"/>
          </p:nvSpPr>
          <p:spPr>
            <a:xfrm>
              <a:off x="612000" y="3051005"/>
              <a:ext cx="1014669" cy="101466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B3BECDAC-7BB3-4953-9B24-1D1BA39627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829112" y="3285976"/>
              <a:ext cx="560750" cy="523778"/>
            </a:xfrm>
            <a:prstGeom prst="rect">
              <a:avLst/>
            </a:prstGeom>
            <a:solidFill>
              <a:schemeClr val="tx2"/>
            </a:solidFill>
          </p:spPr>
        </p:pic>
      </p:grpSp>
      <p:sp>
        <p:nvSpPr>
          <p:cNvPr id="50" name="Date Placeholder 3">
            <a:extLst>
              <a:ext uri="{FF2B5EF4-FFF2-40B4-BE49-F238E27FC236}">
                <a16:creationId xmlns:a16="http://schemas.microsoft.com/office/drawing/2014/main" id="{363FF948-95BD-465F-B706-FB4DBEAD73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275B5DD-2F1E-4F70-8026-B240BFD2B242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pply Layout Timeline coral</a:t>
            </a:r>
          </a:p>
        </p:txBody>
      </p:sp>
    </p:spTree>
    <p:extLst>
      <p:ext uri="{BB962C8B-B14F-4D97-AF65-F5344CB8AC3E}">
        <p14:creationId xmlns:p14="http://schemas.microsoft.com/office/powerpoint/2010/main" val="2671420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7474 -1.48148E-6 L 2.70833E-6 -1.48148E-6 " pathEditMode="relative" rAng="0" ptsTypes="AA">
                                      <p:cBhvr>
                                        <p:cTn id="9" dur="1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3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Click to edit title of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Footer Text here if required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US" smtClean="0"/>
              <a:t>‹#›</a:t>
            </a:fld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8BCF627-9B1A-4433-BDF1-E3FAB03F3F9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61366" y="3685637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94A42B3-386F-4570-AF77-B09584A4EDB3}"/>
              </a:ext>
            </a:extLst>
          </p:cNvPr>
          <p:cNvCxnSpPr>
            <a:cxnSpLocks/>
          </p:cNvCxnSpPr>
          <p:nvPr userDrawn="1"/>
        </p:nvCxnSpPr>
        <p:spPr>
          <a:xfrm flipV="1">
            <a:off x="3818275" y="3423748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0D959B6-B882-4748-BFB2-A4FB2158BE62}"/>
              </a:ext>
            </a:extLst>
          </p:cNvPr>
          <p:cNvCxnSpPr>
            <a:cxnSpLocks/>
          </p:cNvCxnSpPr>
          <p:nvPr userDrawn="1"/>
        </p:nvCxnSpPr>
        <p:spPr>
          <a:xfrm flipV="1">
            <a:off x="4575184" y="3685637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4815102-2641-453E-833D-D8FB5536C9ED}"/>
              </a:ext>
            </a:extLst>
          </p:cNvPr>
          <p:cNvCxnSpPr>
            <a:cxnSpLocks/>
          </p:cNvCxnSpPr>
          <p:nvPr userDrawn="1"/>
        </p:nvCxnSpPr>
        <p:spPr>
          <a:xfrm flipV="1">
            <a:off x="5332093" y="3423748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517067F-C719-43C2-9A62-B3C3D555939F}"/>
              </a:ext>
            </a:extLst>
          </p:cNvPr>
          <p:cNvCxnSpPr>
            <a:cxnSpLocks/>
          </p:cNvCxnSpPr>
          <p:nvPr userDrawn="1"/>
        </p:nvCxnSpPr>
        <p:spPr>
          <a:xfrm flipV="1">
            <a:off x="6089002" y="3685637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2760275-CA83-4E5F-8AC7-CEF35CDF3259}"/>
              </a:ext>
            </a:extLst>
          </p:cNvPr>
          <p:cNvCxnSpPr>
            <a:cxnSpLocks/>
          </p:cNvCxnSpPr>
          <p:nvPr userDrawn="1"/>
        </p:nvCxnSpPr>
        <p:spPr>
          <a:xfrm flipV="1">
            <a:off x="6845911" y="3423748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15A3289-08E1-42E1-A8E7-558A109E7B20}"/>
              </a:ext>
            </a:extLst>
          </p:cNvPr>
          <p:cNvCxnSpPr>
            <a:cxnSpLocks/>
          </p:cNvCxnSpPr>
          <p:nvPr userDrawn="1"/>
        </p:nvCxnSpPr>
        <p:spPr>
          <a:xfrm flipV="1">
            <a:off x="7602820" y="3685637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F6B6689-405C-4F99-B18D-14B6FFC05438}"/>
              </a:ext>
            </a:extLst>
          </p:cNvPr>
          <p:cNvCxnSpPr>
            <a:cxnSpLocks/>
          </p:cNvCxnSpPr>
          <p:nvPr userDrawn="1"/>
        </p:nvCxnSpPr>
        <p:spPr>
          <a:xfrm flipV="1">
            <a:off x="8359729" y="3423748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D354C0A-99FA-4D65-BC96-696B65A17BD6}"/>
              </a:ext>
            </a:extLst>
          </p:cNvPr>
          <p:cNvCxnSpPr>
            <a:cxnSpLocks/>
          </p:cNvCxnSpPr>
          <p:nvPr userDrawn="1"/>
        </p:nvCxnSpPr>
        <p:spPr>
          <a:xfrm flipV="1">
            <a:off x="9116638" y="3685637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012335-8D32-4874-A96B-5ECF744338FC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30456" y="3685637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CCFECC2-CAF0-42FE-AB0A-86EF6A2F3F1E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2304457" y="3423748"/>
            <a:ext cx="1591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FA0EBC2-B451-4574-B391-E3AD65FEE8C2}"/>
              </a:ext>
            </a:extLst>
          </p:cNvPr>
          <p:cNvCxnSpPr>
            <a:cxnSpLocks/>
          </p:cNvCxnSpPr>
          <p:nvPr userDrawn="1"/>
        </p:nvCxnSpPr>
        <p:spPr>
          <a:xfrm flipV="1">
            <a:off x="9873547" y="3423748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41E5E33B-7E1B-4C9A-923E-05A72013E6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47548" y="2384863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70EC5FA-DF6B-4761-87C7-3BD98B4F5B43}"/>
              </a:ext>
            </a:extLst>
          </p:cNvPr>
          <p:cNvCxnSpPr>
            <a:cxnSpLocks/>
          </p:cNvCxnSpPr>
          <p:nvPr userDrawn="1"/>
        </p:nvCxnSpPr>
        <p:spPr>
          <a:xfrm>
            <a:off x="988168" y="3685637"/>
            <a:ext cx="10633076" cy="0"/>
          </a:xfrm>
          <a:prstGeom prst="line">
            <a:avLst/>
          </a:prstGeom>
          <a:ln w="50800" cap="rnd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AEBE50A6-2B6E-45D1-B02D-F21587E3A4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061366" y="2384863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618B6BC9-5474-42FF-B42C-57702244466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75184" y="2384863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C1D2A1A7-37B8-4B6A-BE55-666685973E7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89002" y="2384863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CDFFFA45-7FAD-4515-9DB2-9B963F2744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13431" y="2384863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023424D7-92EF-48CA-8D74-122054073E9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127249" y="2384863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A20F9461-9AA2-4A61-85DA-A7CC8D419DD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304457" y="3957151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26B9587E-7FD0-4462-8A18-70AD1CB183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18275" y="3957151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14A68AF4-7308-4EB8-BC50-D2B2571B8C6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332093" y="3957151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0E7A4446-B482-4936-85FD-6335C705960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45911" y="3957151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BF651D25-E3A2-4321-894C-73AE1E67BB9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70340" y="3957151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1CAD672-0E7B-4BD3-8623-0A35A7E0D4F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84158" y="3957151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1D4B3150-818A-43FD-B152-10520CC91E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AD4EF8B6-12D3-4B55-9E67-E0A48B0967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AAFC9B9-8AD1-41A7-A84A-AB869EE3F0D8}"/>
              </a:ext>
            </a:extLst>
          </p:cNvPr>
          <p:cNvGrpSpPr/>
          <p:nvPr userDrawn="1"/>
        </p:nvGrpSpPr>
        <p:grpSpPr>
          <a:xfrm>
            <a:off x="612000" y="3179152"/>
            <a:ext cx="1014669" cy="1014669"/>
            <a:chOff x="612000" y="3051005"/>
            <a:chExt cx="1014669" cy="1014669"/>
          </a:xfrm>
          <a:solidFill>
            <a:schemeClr val="tx1"/>
          </a:solidFill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E66FFDD3-BF62-4475-9A2E-C1B58B33E82F}"/>
                </a:ext>
              </a:extLst>
            </p:cNvPr>
            <p:cNvSpPr/>
            <p:nvPr userDrawn="1"/>
          </p:nvSpPr>
          <p:spPr>
            <a:xfrm>
              <a:off x="612000" y="3051005"/>
              <a:ext cx="1014669" cy="1014669"/>
            </a:xfrm>
            <a:prstGeom prst="ellipse">
              <a:avLst/>
            </a:prstGeom>
            <a:solidFill>
              <a:srgbClr val="055A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13626EF2-66DE-44B9-8152-9AE9AE8DA0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829112" y="3285976"/>
              <a:ext cx="560750" cy="523778"/>
            </a:xfrm>
            <a:prstGeom prst="rect">
              <a:avLst/>
            </a:prstGeom>
            <a:solidFill>
              <a:srgbClr val="055A60"/>
            </a:solidFill>
          </p:spPr>
        </p:pic>
      </p:grpSp>
      <p:sp>
        <p:nvSpPr>
          <p:cNvPr id="50" name="Date Placeholder 3">
            <a:extLst>
              <a:ext uri="{FF2B5EF4-FFF2-40B4-BE49-F238E27FC236}">
                <a16:creationId xmlns:a16="http://schemas.microsoft.com/office/drawing/2014/main" id="{D5F6A621-5CEE-484F-B6C2-C4F84A3AFA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A2DE57E-997A-4136-905D-B7FC0BC5E442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pply Layout Timeline coral</a:t>
            </a:r>
          </a:p>
        </p:txBody>
      </p:sp>
    </p:spTree>
    <p:extLst>
      <p:ext uri="{BB962C8B-B14F-4D97-AF65-F5344CB8AC3E}">
        <p14:creationId xmlns:p14="http://schemas.microsoft.com/office/powerpoint/2010/main" val="34651665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7474 0 L 2.70833E-6 0 " pathEditMode="relative" rAng="0" ptsTypes="AA">
                                      <p:cBhvr>
                                        <p:cTn id="9" dur="1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3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Left H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itle of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D7B397-8663-3A48-AD9C-349EE7D16D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0001" y="1735975"/>
            <a:ext cx="5648688" cy="440764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8DAC6F2-8A9C-0648-95F9-AB4A7A7496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63" y="1231976"/>
            <a:ext cx="5648325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C87945EA-7622-41C2-8FD2-67CFD8396DB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15062" y="1231975"/>
            <a:ext cx="5616575" cy="4914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GB" noProof="0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1998156-13D7-45B8-84F2-EF3B7AE04C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CB02757-C0CA-4902-9E0E-797871BAEF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BE6D1347-7896-4877-8476-CF370ED47D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7741055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Left Hand Subtitl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 noProof="0"/>
              <a:t>Click to edit title of slid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BBD698-77A6-AD4C-890D-FCF16F15E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15063" y="1231199"/>
            <a:ext cx="5616574" cy="4914000"/>
          </a:xfrm>
          <a:solidFill>
            <a:srgbClr val="DDE0E3"/>
          </a:solidFill>
        </p:spPr>
        <p:txBody>
          <a:bodyPr lIns="144000" tIns="144000" rIns="144000" b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  <a:endParaRPr lang="en-GB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24B0CF9-8601-4195-AE40-924B298650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0001" y="1742249"/>
            <a:ext cx="5648688" cy="440137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3B8CACC-D0BE-40FC-A135-8D044B94E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63" y="1231200"/>
            <a:ext cx="5648325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11A2CAAF-8A41-4EB9-BE1B-E6644B48E06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E9E4EE6-9531-43E0-8942-A6B106043B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2CAE7E41-6D9C-4CF4-AF6B-22F9F2BC4A6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496893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Keypoint &amp; Gre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 noProof="0"/>
              <a:t>Click to edit title of slid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BBD698-77A6-AD4C-890D-FCF16F15E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15063" y="1232649"/>
            <a:ext cx="5616574" cy="4914000"/>
          </a:xfrm>
          <a:solidFill>
            <a:srgbClr val="DDE0E3"/>
          </a:solidFill>
        </p:spPr>
        <p:txBody>
          <a:bodyPr lIns="144000" tIns="144000" rIns="144000" b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24B0CF9-8601-4195-AE40-924B298650E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60000" y="1751748"/>
            <a:ext cx="5648688" cy="648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3B8CACC-D0BE-40FC-A135-8D044B94E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232650"/>
            <a:ext cx="5648325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C0C71DC-89F7-4588-8AA4-D020FC9D061A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60000" y="2999885"/>
            <a:ext cx="5648688" cy="648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C8DF0E9-B94A-414E-9825-94933E3AD0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2484227"/>
            <a:ext cx="5648325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8B3B1BD-2F40-494B-A10A-17F6270719C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60000" y="4248022"/>
            <a:ext cx="5648688" cy="648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98F1247-7E81-4AFE-972C-0325833ADE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3735804"/>
            <a:ext cx="5648325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288F4B-4B0C-4E92-82A7-10C900D13DE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360000" y="5496158"/>
            <a:ext cx="5648688" cy="648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EE074E9-2CB0-447E-A5D6-065F8872C3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4987382"/>
            <a:ext cx="5648325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4CC3814-D3AB-40B6-A189-2C666B20B21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3A67B600-A102-4C68-9F6A-21CE571624BA}"/>
              </a:ext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0905650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771EFA7-9B62-42EA-A84D-02E374C79F3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DE0E3"/>
          </a:solidFill>
        </p:spPr>
        <p:txBody>
          <a:bodyPr/>
          <a:lstStyle>
            <a:lvl1pPr marL="180000" indent="0">
              <a:lnSpc>
                <a:spcPct val="12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ING A PHOTOGRAPH INTO THE BACKGROUND</a:t>
            </a:r>
            <a:br>
              <a:rPr lang="en-GB" dirty="0"/>
            </a:br>
            <a:r>
              <a:rPr lang="en-GB" dirty="0"/>
              <a:t>Right click on the edge of the grey area to select the picture placeholder. </a:t>
            </a:r>
            <a:br>
              <a:rPr lang="en-GB" dirty="0"/>
            </a:br>
            <a:r>
              <a:rPr lang="en-GB" dirty="0"/>
              <a:t>A drop down dialogue will appear. Select BRING TO FRONT. </a:t>
            </a:r>
            <a:br>
              <a:rPr lang="en-GB" dirty="0"/>
            </a:br>
            <a:r>
              <a:rPr lang="en-GB" dirty="0"/>
              <a:t>Click on the picture Icon in the middle of the screen to browse your PC to select a picture to insert. </a:t>
            </a:r>
            <a:br>
              <a:rPr lang="en-GB" dirty="0"/>
            </a:br>
            <a:r>
              <a:rPr lang="en-GB" dirty="0"/>
              <a:t>Double click on the file want you to insert and then right click on the edge of the picture and select SEND TO BACK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3BDBFC-35BF-C640-A95A-DBE6DEE579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4400" y="4227680"/>
            <a:ext cx="5919537" cy="438582"/>
          </a:xfrm>
        </p:spPr>
        <p:txBody>
          <a:bodyPr wrap="square">
            <a:spAutoFit/>
          </a:bodyPr>
          <a:lstStyle>
            <a:lvl1pPr marL="0" indent="0" algn="l"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Click to edit presentation subtitl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71540E4-5E43-3445-9361-342BABDD7B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508350"/>
            <a:ext cx="5919537" cy="1590307"/>
          </a:xfrm>
        </p:spPr>
        <p:txBody>
          <a:bodyPr>
            <a:spAutoFit/>
          </a:bodyPr>
          <a:lstStyle>
            <a:lvl1pPr>
              <a:lnSpc>
                <a:spcPts val="5700"/>
              </a:lnSpc>
              <a:defRPr sz="5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noProof="0" dirty="0"/>
              <a:t>Click to edit presentation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96FF436-51E0-48AC-9FD5-ECEF1B975B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5878800"/>
            <a:ext cx="7610475" cy="417600"/>
          </a:xfrm>
        </p:spPr>
        <p:txBody>
          <a:bodyPr tIns="0" rIns="0" bIns="0" anchor="b" anchorCtr="0"/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For Investment Professionals only (14pt Calibri Bold in Teal or White – Multiple 0.9 line spacing with 10 point space before)</a:t>
            </a:r>
          </a:p>
        </p:txBody>
      </p:sp>
    </p:spTree>
    <p:extLst>
      <p:ext uri="{BB962C8B-B14F-4D97-AF65-F5344CB8AC3E}">
        <p14:creationId xmlns:p14="http://schemas.microsoft.com/office/powerpoint/2010/main" val="37909092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231200"/>
            <a:ext cx="114712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3913200"/>
            <a:ext cx="114712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60000" y="3686175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7951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6747767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orizontal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731289"/>
            <a:ext cx="11472920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4415629"/>
            <a:ext cx="11470462" cy="1727996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57188" y="368549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4681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0CAC169-C1E3-4B6E-B9C4-CCC3F0D838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8" y="1231976"/>
            <a:ext cx="11470463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9D1CAA8-DAF0-48E8-BAAF-687A092134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3913147"/>
            <a:ext cx="11468006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23031600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eft 2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228725"/>
            <a:ext cx="5487575" cy="4912519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228725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3913182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05"/>
            <a:ext cx="0" cy="4910139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44091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eft 2 Right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730419"/>
            <a:ext cx="5487575" cy="4413206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730419"/>
            <a:ext cx="5487575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4412845"/>
            <a:ext cx="5487575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4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7138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0CAC169-C1E3-4B6E-B9C4-CCC3F0D838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9" y="1231106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59885671-02FB-434A-8C3A-CE8FD23710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44062" y="1231106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B8AEE985-2693-45D0-A07C-C63EBA9443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44062" y="3912744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29647764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eft 1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231200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231199"/>
            <a:ext cx="5487575" cy="4914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3913182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4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0248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7503179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eft 1 Right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731210"/>
            <a:ext cx="5487575" cy="1729539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731211"/>
            <a:ext cx="5487575" cy="4412414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4413247"/>
            <a:ext cx="5487575" cy="1729539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896"/>
            <a:ext cx="0" cy="4914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8724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0CAC169-C1E3-4B6E-B9C4-CCC3F0D838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9" y="1231898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59885671-02FB-434A-8C3A-CE8FD23710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44062" y="1231898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9D1CAA8-DAF0-48E8-BAAF-687A092134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3913147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1550266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op 2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231200"/>
            <a:ext cx="114712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3913182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3913182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60000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7951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5199393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op 2 Bottom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731210"/>
            <a:ext cx="11471638" cy="1729539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4413248"/>
            <a:ext cx="5487575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4413248"/>
            <a:ext cx="5487575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60000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7072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0CAC169-C1E3-4B6E-B9C4-CCC3F0D838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8" y="1231898"/>
            <a:ext cx="11470463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9D1CAA8-DAF0-48E8-BAAF-687A092134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3913147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B8AEE985-2693-45D0-A07C-C63EBA9443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44062" y="3913147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2292641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p 1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231200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231200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3913183"/>
            <a:ext cx="11471275" cy="2230441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60000" y="3686175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7951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8519358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p 1 Bottom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729700"/>
            <a:ext cx="5487575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729700"/>
            <a:ext cx="5487575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4414041"/>
            <a:ext cx="11470462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60000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4681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0CAC169-C1E3-4B6E-B9C4-CCC3F0D838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9" y="1230387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59885671-02FB-434A-8C3A-CE8FD23710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44062" y="1230387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9D1CAA8-DAF0-48E8-BAAF-687A092134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3913940"/>
            <a:ext cx="11468006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3380073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grey">
    <p:bg>
      <p:bgPr>
        <a:solidFill>
          <a:srgbClr val="5B65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439369"/>
            <a:ext cx="9031286" cy="902555"/>
          </a:xfrm>
        </p:spPr>
        <p:txBody>
          <a:bodyPr wrap="square" anchor="b" anchorCtr="0">
            <a:spAutoFit/>
          </a:bodyPr>
          <a:lstStyle>
            <a:lvl1pPr>
              <a:defRPr sz="585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Divider page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34401" y="3375369"/>
            <a:ext cx="9031286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Use for subheading (or delete)</a:t>
            </a:r>
          </a:p>
        </p:txBody>
      </p:sp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C751E150-D939-4154-9CF1-45F6484F30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8586" y="2871788"/>
            <a:ext cx="1200693" cy="617065"/>
          </a:xfrm>
          <a:prstGeom prst="rect">
            <a:avLst/>
          </a:prstGeom>
        </p:spPr>
      </p:pic>
      <p:pic>
        <p:nvPicPr>
          <p:cNvPr id="6" name="Graphic 5" hidden="1">
            <a:extLst>
              <a:ext uri="{FF2B5EF4-FFF2-40B4-BE49-F238E27FC236}">
                <a16:creationId xmlns:a16="http://schemas.microsoft.com/office/drawing/2014/main" id="{2FE5E2CB-FDAD-4416-9517-DA3DD1BFAA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9912" y="2874963"/>
            <a:ext cx="1742400" cy="633600"/>
          </a:xfrm>
          <a:prstGeom prst="rect">
            <a:avLst/>
          </a:prstGeom>
        </p:spPr>
      </p:pic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F63CCF06-CA42-4E83-8492-787C2B6727C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9912" y="2691608"/>
            <a:ext cx="1742401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430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96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rds Top 1/3 rd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231199"/>
            <a:ext cx="11471275" cy="28332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4516438"/>
            <a:ext cx="5487575" cy="1628744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4516438"/>
            <a:ext cx="5487575" cy="1628744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7951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BA9D6BF-1359-4C9B-B044-B2C48BB0536E}"/>
              </a:ext>
            </a:extLst>
          </p:cNvPr>
          <p:cNvCxnSpPr>
            <a:cxnSpLocks/>
          </p:cNvCxnSpPr>
          <p:nvPr userDrawn="1"/>
        </p:nvCxnSpPr>
        <p:spPr>
          <a:xfrm flipH="1">
            <a:off x="360000" y="4292983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11927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rds Top 1/3 rd Bottom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731210"/>
            <a:ext cx="11471638" cy="23296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5022848"/>
            <a:ext cx="5487575" cy="1120777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5022848"/>
            <a:ext cx="5487575" cy="1120777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7072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0CAC169-C1E3-4B6E-B9C4-CCC3F0D838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8" y="1231898"/>
            <a:ext cx="11470463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9D1CAA8-DAF0-48E8-BAAF-687A092134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4522747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B8AEE985-2693-45D0-A07C-C63EBA9443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44062" y="4522747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ABFD90A-EBBB-4CC4-8C84-F8FA49A2299B}"/>
              </a:ext>
            </a:extLst>
          </p:cNvPr>
          <p:cNvCxnSpPr>
            <a:cxnSpLocks/>
          </p:cNvCxnSpPr>
          <p:nvPr userDrawn="1"/>
        </p:nvCxnSpPr>
        <p:spPr>
          <a:xfrm flipH="1">
            <a:off x="360000" y="4292983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5582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rd Top 2/3 rds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231199"/>
            <a:ext cx="5487575" cy="1619971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231199"/>
            <a:ext cx="5487575" cy="1619971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3300618"/>
            <a:ext cx="11471275" cy="2843006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7951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E5E8724-5F30-4915-AD19-8B66BAF5625C}"/>
              </a:ext>
            </a:extLst>
          </p:cNvPr>
          <p:cNvCxnSpPr>
            <a:cxnSpLocks/>
          </p:cNvCxnSpPr>
          <p:nvPr userDrawn="1"/>
        </p:nvCxnSpPr>
        <p:spPr>
          <a:xfrm flipH="1">
            <a:off x="360000" y="3073851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44364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rd Top 2/3 rds Bottom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729700"/>
            <a:ext cx="5487575" cy="1118597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729700"/>
            <a:ext cx="5487575" cy="1118597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3803577"/>
            <a:ext cx="11470462" cy="2340048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4681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0CAC169-C1E3-4B6E-B9C4-CCC3F0D838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9" y="1230387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59885671-02FB-434A-8C3A-CE8FD23710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44062" y="1230387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9D1CAA8-DAF0-48E8-BAAF-687A092134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3303476"/>
            <a:ext cx="11468006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F4430C3-B1A9-4269-9205-4D9BDED25F63}"/>
              </a:ext>
            </a:extLst>
          </p:cNvPr>
          <p:cNvCxnSpPr>
            <a:cxnSpLocks/>
          </p:cNvCxnSpPr>
          <p:nvPr userDrawn="1"/>
        </p:nvCxnSpPr>
        <p:spPr>
          <a:xfrm flipH="1">
            <a:off x="360000" y="3073851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07419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justable Content No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231200"/>
            <a:ext cx="114712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3913182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3913182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7951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6685809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itle of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D7B397-8663-3A48-AD9C-349EE7D16D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0001" y="1231199"/>
            <a:ext cx="3683362" cy="49124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BBD698-77A6-AD4C-890D-FCF16F15E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59263" y="1231199"/>
            <a:ext cx="3702050" cy="49124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E797AEE-A197-6A4B-98E2-E325EA7EB7B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161338" y="1231199"/>
            <a:ext cx="3670300" cy="49124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718C48E-9443-46D0-9679-5073F54D20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224DD5F-CE3E-4484-932C-4A0D42C6CB5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01809E14-E8CF-46D0-825F-53BC1E30B271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92208611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Text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itle of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D7B397-8663-3A48-AD9C-349EE7D16D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0001" y="1730381"/>
            <a:ext cx="3686400" cy="4413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BBD698-77A6-AD4C-890D-FCF16F15E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59263" y="1730381"/>
            <a:ext cx="3686400" cy="4413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E797AEE-A197-6A4B-98E2-E325EA7EB7B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161338" y="1730381"/>
            <a:ext cx="3686400" cy="4413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E25CADC-9B60-5E42-B1E1-43617EB553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231200"/>
            <a:ext cx="3686175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D5C51E5-C313-EF40-95E2-D4DC748DB8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59263" y="1231200"/>
            <a:ext cx="36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77A7BB0-2EAD-2941-BC68-73D75770D4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61338" y="1231200"/>
            <a:ext cx="36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C84AE03A-F5D5-4923-AAE8-13C2A1607B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500720A-DD1E-4A42-9379-2ED122C7ED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A290CE7E-16E4-46AF-81AE-8B048E31A1C5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801433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70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Biograp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D7B397-8663-3A48-AD9C-349EE7D16D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0001" y="2206807"/>
            <a:ext cx="3686400" cy="3935083"/>
          </a:xfrm>
        </p:spPr>
        <p:txBody>
          <a:bodyPr/>
          <a:lstStyle>
            <a:lvl1pPr marL="0" indent="0">
              <a:buNone/>
              <a:defRPr sz="1000"/>
            </a:lvl1pPr>
            <a:lvl2pPr marL="180000">
              <a:defRPr sz="1000"/>
            </a:lvl2pPr>
            <a:lvl3pPr marL="360000">
              <a:defRPr sz="1000"/>
            </a:lvl3pPr>
            <a:lvl4pPr marL="540000">
              <a:defRPr sz="1000"/>
            </a:lvl4pPr>
            <a:lvl5pPr marL="720000"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itle of slid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BBD698-77A6-AD4C-890D-FCF16F15E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59263" y="2206806"/>
            <a:ext cx="3708400" cy="3936820"/>
          </a:xfrm>
        </p:spPr>
        <p:txBody>
          <a:bodyPr/>
          <a:lstStyle>
            <a:lvl1pPr marL="0" indent="0">
              <a:buNone/>
              <a:defRPr sz="1000"/>
            </a:lvl1pPr>
            <a:lvl2pPr marL="180000">
              <a:defRPr sz="1000"/>
            </a:lvl2pPr>
            <a:lvl3pPr marL="360000">
              <a:defRPr sz="1000"/>
            </a:lvl3pPr>
            <a:lvl4pPr marL="540000">
              <a:defRPr sz="1000"/>
            </a:lvl4pPr>
            <a:lvl5pPr marL="720000"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E797AEE-A197-6A4B-98E2-E325EA7EB7B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158957" y="2206806"/>
            <a:ext cx="3673474" cy="3936820"/>
          </a:xfrm>
        </p:spPr>
        <p:txBody>
          <a:bodyPr/>
          <a:lstStyle>
            <a:lvl1pPr marL="0" indent="0">
              <a:buNone/>
              <a:defRPr sz="1000"/>
            </a:lvl1pPr>
            <a:lvl2pPr marL="180000">
              <a:defRPr sz="1000"/>
            </a:lvl2pPr>
            <a:lvl3pPr marL="360000">
              <a:defRPr sz="1000"/>
            </a:lvl3pPr>
            <a:lvl4pPr marL="540000">
              <a:defRPr sz="1000"/>
            </a:lvl4pPr>
            <a:lvl5pPr marL="720000"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C84AE03A-F5D5-4923-AAE8-13C2A1607B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500720A-DD1E-4A42-9379-2ED122C7ED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A290CE7E-16E4-46AF-81AE-8B048E31A1C5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094400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F9BF5E8-B0EC-40E7-AB73-4AFC14267BB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363" y="1231244"/>
            <a:ext cx="720000" cy="9000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D2EDCEEA-4D25-41B2-B6DD-A501ADB2E1B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259263" y="1231244"/>
            <a:ext cx="720000" cy="9000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B0A1A80-46B5-4840-9EAE-A7EDCCF483A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158957" y="1231244"/>
            <a:ext cx="720000" cy="9000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B3EA6BB-43A5-43A4-AEEA-0D555453132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55958" y="1153466"/>
            <a:ext cx="2787406" cy="980316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300"/>
              </a:spcBef>
              <a:buNone/>
              <a:defRPr sz="1600">
                <a:solidFill>
                  <a:schemeClr val="tx2"/>
                </a:solidFill>
              </a:defRPr>
            </a:lvl2pPr>
            <a:lvl3pPr marL="360612" indent="0">
              <a:buNone/>
              <a:defRPr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GB" dirty="0"/>
              <a:t>Insert post here</a:t>
            </a:r>
          </a:p>
          <a:p>
            <a:pPr lvl="1"/>
            <a:r>
              <a:rPr lang="en-GB" dirty="0"/>
              <a:t>(16pt Calibri)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A71935B-5F0B-4F80-9F85-26BA44020D6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0258" y="1153466"/>
            <a:ext cx="2787406" cy="980316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300"/>
              </a:spcBef>
              <a:buNone/>
              <a:defRPr sz="1600">
                <a:solidFill>
                  <a:schemeClr val="tx2"/>
                </a:solidFill>
              </a:defRPr>
            </a:lvl2pPr>
            <a:lvl3pPr marL="360612" indent="0">
              <a:buNone/>
              <a:defRPr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GB" dirty="0"/>
              <a:t>Insert post here</a:t>
            </a:r>
          </a:p>
          <a:p>
            <a:pPr lvl="1"/>
            <a:r>
              <a:rPr lang="en-GB" dirty="0"/>
              <a:t>(16pt Calibri)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73DA40E0-F063-4E10-A27F-CAF01DBF3BF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42645" y="1153466"/>
            <a:ext cx="2787406" cy="980316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300"/>
              </a:spcBef>
              <a:buNone/>
              <a:defRPr sz="1600">
                <a:solidFill>
                  <a:schemeClr val="tx2"/>
                </a:solidFill>
              </a:defRPr>
            </a:lvl2pPr>
            <a:lvl3pPr marL="360612" indent="0">
              <a:buNone/>
              <a:defRPr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GB" dirty="0"/>
              <a:t>Insert post here</a:t>
            </a:r>
          </a:p>
          <a:p>
            <a:pPr lvl="1"/>
            <a:r>
              <a:rPr lang="en-GB" dirty="0"/>
              <a:t>(16pt Calibri)</a:t>
            </a:r>
          </a:p>
        </p:txBody>
      </p:sp>
    </p:spTree>
    <p:extLst>
      <p:ext uri="{BB962C8B-B14F-4D97-AF65-F5344CB8AC3E}">
        <p14:creationId xmlns:p14="http://schemas.microsoft.com/office/powerpoint/2010/main" val="1340496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9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231200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231200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3913182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3913182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76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57188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6695123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729544"/>
            <a:ext cx="5487575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729544"/>
            <a:ext cx="5487575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01D762-1368-9A4C-B7A7-3A554D889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0000" y="4413248"/>
            <a:ext cx="5487575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4413248"/>
            <a:ext cx="5487575" cy="1728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4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57188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8724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0CAC169-C1E3-4B6E-B9C4-CCC3F0D838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9" y="1230231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59885671-02FB-434A-8C3A-CE8FD23710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44062" y="1230231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9D1CAA8-DAF0-48E8-BAAF-687A092134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3913147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B8AEE985-2693-45D0-A07C-C63EBA9443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44062" y="3913147"/>
            <a:ext cx="5486400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18665176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teal">
    <p:bg>
      <p:bgPr>
        <a:solidFill>
          <a:srgbClr val="7EBD5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439369"/>
            <a:ext cx="9031286" cy="902555"/>
          </a:xfrm>
        </p:spPr>
        <p:txBody>
          <a:bodyPr wrap="square" anchor="b" anchorCtr="0">
            <a:spAutoFit/>
          </a:bodyPr>
          <a:lstStyle>
            <a:lvl1pPr>
              <a:defRPr sz="585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Divider page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34401" y="3375369"/>
            <a:ext cx="9031286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Use for subheading (or delete)</a:t>
            </a:r>
          </a:p>
        </p:txBody>
      </p:sp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9B16320C-1477-424C-B532-D8697D6C86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8586" y="2871788"/>
            <a:ext cx="1200693" cy="617065"/>
          </a:xfrm>
          <a:prstGeom prst="rect">
            <a:avLst/>
          </a:prstGeom>
        </p:spPr>
      </p:pic>
      <p:pic>
        <p:nvPicPr>
          <p:cNvPr id="6" name="Graphic 5" hidden="1">
            <a:extLst>
              <a:ext uri="{FF2B5EF4-FFF2-40B4-BE49-F238E27FC236}">
                <a16:creationId xmlns:a16="http://schemas.microsoft.com/office/drawing/2014/main" id="{148156D7-8D31-4B39-BD43-79E09F9F65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7188" y="2874963"/>
            <a:ext cx="1742400" cy="633600"/>
          </a:xfrm>
          <a:prstGeom prst="rect">
            <a:avLst/>
          </a:prstGeom>
        </p:spPr>
      </p:pic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02A11F8F-8F67-4AFF-8C3C-4DC79B49B08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9912" y="2691608"/>
            <a:ext cx="1742401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9818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 1 Large Pic 1 Content 1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1231900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76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12B9BD-D48C-46DF-B193-FF0A67932F6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60000" y="1231899"/>
            <a:ext cx="5486400" cy="4914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7456D3-ABC1-4A59-A28D-F9E7C5C589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44061" y="3913200"/>
            <a:ext cx="5486400" cy="2232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180000">
              <a:spcBef>
                <a:spcPts val="0"/>
              </a:spcBef>
              <a:spcAft>
                <a:spcPts val="600"/>
              </a:spcAft>
              <a:defRPr sz="1200"/>
            </a:lvl2pPr>
            <a:lvl3pPr marL="360000">
              <a:spcBef>
                <a:spcPts val="0"/>
              </a:spcBef>
              <a:spcAft>
                <a:spcPts val="600"/>
              </a:spcAft>
              <a:defRPr/>
            </a:lvl3pPr>
            <a:lvl4pPr marL="540000">
              <a:spcBef>
                <a:spcPts val="0"/>
              </a:spcBef>
              <a:spcAft>
                <a:spcPts val="600"/>
              </a:spcAft>
              <a:defRPr sz="1200"/>
            </a:lvl4pPr>
            <a:lvl5pPr marL="720000"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84575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 1 Pic 2 Content 1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6C747E35-F1D4-4B8F-949C-46AFC5C389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44062" y="1231899"/>
            <a:ext cx="5486400" cy="2232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180000">
              <a:spcBef>
                <a:spcPts val="0"/>
              </a:spcBef>
              <a:spcAft>
                <a:spcPts val="600"/>
              </a:spcAft>
              <a:defRPr sz="1200"/>
            </a:lvl2pPr>
            <a:lvl3pPr marL="360000">
              <a:spcBef>
                <a:spcPts val="0"/>
              </a:spcBef>
              <a:spcAft>
                <a:spcPts val="600"/>
              </a:spcAft>
              <a:defRPr sz="1200"/>
            </a:lvl3pPr>
            <a:lvl4pPr marL="540000">
              <a:spcBef>
                <a:spcPts val="0"/>
              </a:spcBef>
              <a:spcAft>
                <a:spcPts val="600"/>
              </a:spcAft>
              <a:defRPr sz="1200"/>
            </a:lvl4pPr>
            <a:lvl5pPr marL="720000"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60000" y="3913200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76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57188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12B9BD-D48C-46DF-B193-FF0A67932F6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60000" y="1231900"/>
            <a:ext cx="5486400" cy="22320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FDAB835-5816-49CC-928D-7CED227A8FD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344060" y="3913200"/>
            <a:ext cx="5486400" cy="2232000"/>
          </a:xfrm>
        </p:spPr>
        <p:txBody>
          <a:bodyPr/>
          <a:lstStyle>
            <a:lvl1pPr>
              <a:spcAft>
                <a:spcPts val="600"/>
              </a:spcAft>
              <a:defRPr sz="1400" b="1"/>
            </a:lvl1pPr>
            <a:lvl2pPr>
              <a:spcBef>
                <a:spcPts val="0"/>
              </a:spcBef>
              <a:spcAft>
                <a:spcPts val="600"/>
              </a:spcAft>
              <a:defRPr sz="1200"/>
            </a:lvl2pPr>
            <a:lvl3pPr>
              <a:spcBef>
                <a:spcPts val="0"/>
              </a:spcBef>
              <a:spcAft>
                <a:spcPts val="600"/>
              </a:spcAft>
              <a:defRPr/>
            </a:lvl3pPr>
            <a:lvl4pPr>
              <a:spcBef>
                <a:spcPts val="0"/>
              </a:spcBef>
              <a:spcAft>
                <a:spcPts val="600"/>
              </a:spcAft>
              <a:defRPr sz="1200"/>
            </a:lvl4pPr>
            <a:lvl5pPr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22864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 2 Pic 2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231200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3913182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76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57188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12B9BD-D48C-46DF-B193-FF0A67932F6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60000" y="1231900"/>
            <a:ext cx="5486400" cy="22320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8A5CD86-FDAB-4944-9BA6-9F147317469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0000" y="3913200"/>
            <a:ext cx="5486400" cy="223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5622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 2 Pic 1 Content 1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4062" y="1231900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76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57188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12B9BD-D48C-46DF-B193-FF0A67932F6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60000" y="1231900"/>
            <a:ext cx="5486400" cy="22320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8A5CD86-FDAB-4944-9BA6-9F147317469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0000" y="3913200"/>
            <a:ext cx="5486400" cy="223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7456D3-ABC1-4A59-A28D-F9E7C5C589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44061" y="3913200"/>
            <a:ext cx="5486400" cy="2232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180000">
              <a:spcBef>
                <a:spcPts val="0"/>
              </a:spcBef>
              <a:spcAft>
                <a:spcPts val="600"/>
              </a:spcAft>
              <a:defRPr sz="1200"/>
            </a:lvl2pPr>
            <a:lvl3pPr marL="360000">
              <a:spcBef>
                <a:spcPts val="0"/>
              </a:spcBef>
              <a:spcAft>
                <a:spcPts val="600"/>
              </a:spcAft>
              <a:defRPr sz="1200"/>
            </a:lvl3pPr>
            <a:lvl4pPr marL="540000">
              <a:spcBef>
                <a:spcPts val="0"/>
              </a:spcBef>
              <a:spcAft>
                <a:spcPts val="600"/>
              </a:spcAft>
              <a:defRPr sz="1200"/>
            </a:lvl4pPr>
            <a:lvl5pPr marL="720000"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75545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 1 Pic 1 Content 1 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FD5A1F4-2C8C-8A4F-BBD9-4188EF0AFC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60000" y="3913200"/>
            <a:ext cx="5487575" cy="22320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/>
              <a:t>Click to add cont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76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12B9BD-D48C-46DF-B193-FF0A67932F6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60000" y="1231900"/>
            <a:ext cx="5486400" cy="22320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7456D3-ABC1-4A59-A28D-F9E7C5C589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44061" y="1231900"/>
            <a:ext cx="5486400" cy="4914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180000">
              <a:spcBef>
                <a:spcPts val="0"/>
              </a:spcBef>
              <a:spcAft>
                <a:spcPts val="600"/>
              </a:spcAft>
              <a:defRPr sz="1200"/>
            </a:lvl2pPr>
            <a:lvl3pPr marL="360000">
              <a:spcBef>
                <a:spcPts val="0"/>
              </a:spcBef>
              <a:spcAft>
                <a:spcPts val="600"/>
              </a:spcAft>
              <a:defRPr sz="1200"/>
            </a:lvl3pPr>
            <a:lvl4pPr marL="540000">
              <a:spcBef>
                <a:spcPts val="0"/>
              </a:spcBef>
              <a:spcAft>
                <a:spcPts val="600"/>
              </a:spcAft>
              <a:defRPr sz="1200"/>
            </a:lvl4pPr>
            <a:lvl5pPr marL="720000"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24272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 2 Pic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76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57188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12B9BD-D48C-46DF-B193-FF0A67932F6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60000" y="1231900"/>
            <a:ext cx="5486400" cy="22320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8A5CD86-FDAB-4944-9BA6-9F147317469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0000" y="3913200"/>
            <a:ext cx="5486400" cy="223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7456D3-ABC1-4A59-A28D-F9E7C5C589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44061" y="1231900"/>
            <a:ext cx="5486400" cy="2232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400" b="1"/>
            </a:lvl1pPr>
            <a:lvl2pPr marL="180000">
              <a:spcBef>
                <a:spcPts val="0"/>
              </a:spcBef>
              <a:spcAft>
                <a:spcPts val="600"/>
              </a:spcAft>
              <a:defRPr sz="1200"/>
            </a:lvl2pPr>
            <a:lvl3pPr marL="360000">
              <a:spcBef>
                <a:spcPts val="0"/>
              </a:spcBef>
              <a:spcAft>
                <a:spcPts val="600"/>
              </a:spcAft>
              <a:defRPr sz="1200"/>
            </a:lvl3pPr>
            <a:lvl4pPr marL="540000">
              <a:spcBef>
                <a:spcPts val="0"/>
              </a:spcBef>
              <a:spcAft>
                <a:spcPts val="600"/>
              </a:spcAft>
              <a:defRPr sz="1200"/>
            </a:lvl4pPr>
            <a:lvl5pPr marL="720000"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A26B82E-D4F8-4F50-8D5B-D2C94079A88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43200" y="3913188"/>
            <a:ext cx="5486400" cy="2232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400" b="1"/>
            </a:lvl1pPr>
            <a:lvl2pPr marL="180000">
              <a:spcBef>
                <a:spcPts val="0"/>
              </a:spcBef>
              <a:spcAft>
                <a:spcPts val="600"/>
              </a:spcAft>
              <a:defRPr sz="1200"/>
            </a:lvl2pPr>
            <a:lvl3pPr marL="360000">
              <a:spcBef>
                <a:spcPts val="0"/>
              </a:spcBef>
              <a:spcAft>
                <a:spcPts val="600"/>
              </a:spcAft>
              <a:defRPr sz="1200"/>
            </a:lvl3pPr>
            <a:lvl4pPr marL="540000">
              <a:spcBef>
                <a:spcPts val="0"/>
              </a:spcBef>
              <a:spcAft>
                <a:spcPts val="600"/>
              </a:spcAft>
              <a:defRPr sz="1200"/>
            </a:lvl4pPr>
            <a:lvl5pPr marL="720000"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615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 3 Pic 1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76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57188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12B9BD-D48C-46DF-B193-FF0A67932F6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60000" y="1231900"/>
            <a:ext cx="5486400" cy="22320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8A5CD86-FDAB-4944-9BA6-9F147317469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0000" y="3913200"/>
            <a:ext cx="5486400" cy="223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7456D3-ABC1-4A59-A28D-F9E7C5C589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44061" y="1231900"/>
            <a:ext cx="5486400" cy="2232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180000">
              <a:spcBef>
                <a:spcPts val="0"/>
              </a:spcBef>
              <a:spcAft>
                <a:spcPts val="600"/>
              </a:spcAft>
              <a:defRPr sz="1200"/>
            </a:lvl2pPr>
            <a:lvl3pPr marL="360000">
              <a:spcBef>
                <a:spcPts val="0"/>
              </a:spcBef>
              <a:spcAft>
                <a:spcPts val="600"/>
              </a:spcAft>
              <a:defRPr sz="1200"/>
            </a:lvl3pPr>
            <a:lvl4pPr marL="540000">
              <a:spcBef>
                <a:spcPts val="0"/>
              </a:spcBef>
              <a:spcAft>
                <a:spcPts val="600"/>
              </a:spcAft>
              <a:defRPr sz="1200"/>
            </a:lvl4pPr>
            <a:lvl5pPr marL="720000"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BC92417-CBDA-42C7-A5DC-80DB9AD4A41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44060" y="3913200"/>
            <a:ext cx="5486400" cy="223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05931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 2 Pic 1 Content 1 Text with Su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DD3DED-1783-134F-99C6-27C2286BEEF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4062" y="1628744"/>
            <a:ext cx="5487575" cy="18288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  <a:lvl2pPr marL="269875" indent="0" algn="ctr">
              <a:buFontTx/>
              <a:buNone/>
              <a:defRPr/>
            </a:lvl2pPr>
            <a:lvl3pPr marL="492125" indent="0" algn="ctr">
              <a:buFontTx/>
              <a:buNone/>
              <a:defRPr/>
            </a:lvl3pPr>
            <a:lvl4pPr marL="714375" indent="0" algn="ctr">
              <a:buFontTx/>
              <a:buNone/>
              <a:defRPr/>
            </a:lvl4pPr>
          </a:lstStyle>
          <a:p>
            <a:pPr lvl="0"/>
            <a:r>
              <a:rPr lang="en-GB" noProof="0" dirty="0"/>
              <a:t>Click to add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4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57188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8724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0CAC169-C1E3-4B6E-B9C4-CCC3F0D838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9" y="1230231"/>
            <a:ext cx="5486400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59885671-02FB-434A-8C3A-CE8FD23710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44062" y="1230231"/>
            <a:ext cx="5486400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9D1CAA8-DAF0-48E8-BAAF-687A092134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3913147"/>
            <a:ext cx="5486400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B8AEE985-2693-45D0-A07C-C63EBA9443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44062" y="3913147"/>
            <a:ext cx="5486400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3160110-25FB-46E1-A119-46503489C51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60000" y="1628744"/>
            <a:ext cx="54864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748F2C9-9A3E-477A-8621-0905E37EAA1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00" y="4313238"/>
            <a:ext cx="54864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EDC88DE-F5CC-4881-B66B-842496E2787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44062" y="4313238"/>
            <a:ext cx="5486400" cy="1828800"/>
          </a:xfrm>
        </p:spPr>
        <p:txBody>
          <a:bodyPr/>
          <a:lstStyle>
            <a:lvl1pPr marL="0" indent="0">
              <a:spcBef>
                <a:spcPts val="1000"/>
              </a:spcBef>
              <a:spcAft>
                <a:spcPts val="600"/>
              </a:spcAft>
              <a:buNone/>
              <a:defRPr sz="1400" b="1"/>
            </a:lvl1pPr>
            <a:lvl2pPr marL="180000">
              <a:spcBef>
                <a:spcPts val="0"/>
              </a:spcBef>
              <a:spcAft>
                <a:spcPts val="600"/>
              </a:spcAft>
              <a:defRPr sz="1200"/>
            </a:lvl2pPr>
            <a:lvl3pPr marL="360000">
              <a:spcBef>
                <a:spcPts val="0"/>
              </a:spcBef>
              <a:spcAft>
                <a:spcPts val="600"/>
              </a:spcAft>
              <a:defRPr sz="1200"/>
            </a:lvl3pPr>
            <a:lvl4pPr marL="540000">
              <a:spcBef>
                <a:spcPts val="0"/>
              </a:spcBef>
              <a:spcAft>
                <a:spcPts val="600"/>
              </a:spcAft>
              <a:defRPr sz="1200"/>
            </a:lvl4pPr>
            <a:lvl5pPr marL="720000"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06046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 4 Pic with Su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307045-E2DE-DF43-9010-35655452E0FD}"/>
              </a:ext>
            </a:extLst>
          </p:cNvPr>
          <p:cNvCxnSpPr>
            <a:cxnSpLocks/>
          </p:cNvCxnSpPr>
          <p:nvPr userDrawn="1"/>
        </p:nvCxnSpPr>
        <p:spPr>
          <a:xfrm>
            <a:off x="6110402" y="1231199"/>
            <a:ext cx="0" cy="4914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57188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8724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0CAC169-C1E3-4B6E-B9C4-CCC3F0D838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9" y="1230231"/>
            <a:ext cx="5486400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59885671-02FB-434A-8C3A-CE8FD23710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44062" y="1230231"/>
            <a:ext cx="5486400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9D1CAA8-DAF0-48E8-BAAF-687A092134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3913147"/>
            <a:ext cx="5486400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B8AEE985-2693-45D0-A07C-C63EBA9443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44062" y="3913147"/>
            <a:ext cx="5486400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3160110-25FB-46E1-A119-46503489C51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60000" y="1627200"/>
            <a:ext cx="54864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748F2C9-9A3E-477A-8621-0905E37EAA1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00" y="4312450"/>
            <a:ext cx="54864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52E32D7-A4BA-45C8-85F9-FD31E7A2547B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344061" y="1627200"/>
            <a:ext cx="54864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8D4866-3943-4A06-AF5A-1DB6A896EE3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4062" y="4312450"/>
            <a:ext cx="54864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36368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 6 Pics with Content &amp; Su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/>
              <a:t>Click to edit title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B6535-0336-8449-81AC-9BE953FC5274}" type="slidenum">
              <a:rPr lang="en-GB" noProof="0" smtClean="0"/>
              <a:t>‹#›</a:t>
            </a:fld>
            <a:endParaRPr lang="en-GB" noProof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9B66ED-8EE8-B142-8F90-BC18C7E08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357188" y="3686400"/>
            <a:ext cx="1147444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EC2450-4686-4B7A-BC9D-6FDCBD1AAD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34728F-B792-44BA-BE50-742B37183B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6A8FCC-07B3-471F-B4CD-37A5C6429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8724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0CAC169-C1E3-4B6E-B9C4-CCC3F0D838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9" y="1230231"/>
            <a:ext cx="3683364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59885671-02FB-434A-8C3A-CE8FD23710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68316" y="1230231"/>
            <a:ext cx="3682800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9D1CAA8-DAF0-48E8-BAAF-687A092134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3913147"/>
            <a:ext cx="3682800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B8AEE985-2693-45D0-A07C-C63EBA9443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68316" y="3913147"/>
            <a:ext cx="3682800" cy="360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3160110-25FB-46E1-A119-46503489C51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60000" y="1627200"/>
            <a:ext cx="14400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748F2C9-9A3E-477A-8621-0905E37EAA1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00" y="4312450"/>
            <a:ext cx="14400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52E32D7-A4BA-45C8-85F9-FD31E7A2547B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268316" y="1627200"/>
            <a:ext cx="14400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8D4866-3943-4A06-AF5A-1DB6A896EE3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268316" y="4312450"/>
            <a:ext cx="14400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8EE4F96-A0F0-4B28-875D-C8AE347D081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160395" y="1628775"/>
            <a:ext cx="14400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73C0FA2A-CEB6-4F6F-B220-02FC4D10855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160395" y="4313238"/>
            <a:ext cx="14400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B5CD779-FD09-4D15-BFAE-EC4B7E8CE84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57220" y="1231900"/>
            <a:ext cx="3682800" cy="3429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lang="en-GB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</a:pPr>
            <a:r>
              <a:rPr lang="en-US" dirty="0"/>
              <a:t>Click to insert subtitle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E3E572B1-3C9D-4D95-AA07-389954DD74B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57220" y="3916362"/>
            <a:ext cx="3682800" cy="360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</a:pPr>
            <a:r>
              <a:rPr lang="en-US" dirty="0"/>
              <a:t>Click to insert subtitle</a:t>
            </a:r>
          </a:p>
        </p:txBody>
      </p:sp>
      <p:sp>
        <p:nvSpPr>
          <p:cNvPr id="40" name="Content Placeholder 38">
            <a:extLst>
              <a:ext uri="{FF2B5EF4-FFF2-40B4-BE49-F238E27FC236}">
                <a16:creationId xmlns:a16="http://schemas.microsoft.com/office/drawing/2014/main" id="{ADE0B316-0200-449E-8A32-B3E92FCBAB93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1892350" y="1628775"/>
            <a:ext cx="2127564" cy="1827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2" name="Content Placeholder 41">
            <a:extLst>
              <a:ext uri="{FF2B5EF4-FFF2-40B4-BE49-F238E27FC236}">
                <a16:creationId xmlns:a16="http://schemas.microsoft.com/office/drawing/2014/main" id="{AF65A230-7BCF-4F2B-A205-9313695E171E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5785167" y="1628775"/>
            <a:ext cx="2127564" cy="182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4" name="Content Placeholder 43">
            <a:extLst>
              <a:ext uri="{FF2B5EF4-FFF2-40B4-BE49-F238E27FC236}">
                <a16:creationId xmlns:a16="http://schemas.microsoft.com/office/drawing/2014/main" id="{8CC30BB6-5160-4147-9700-D44739E29BF2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9692004" y="1628775"/>
            <a:ext cx="2127564" cy="182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6" name="Content Placeholder 45">
            <a:extLst>
              <a:ext uri="{FF2B5EF4-FFF2-40B4-BE49-F238E27FC236}">
                <a16:creationId xmlns:a16="http://schemas.microsoft.com/office/drawing/2014/main" id="{646B0A4B-7AB9-4B18-8C71-CE28227ED48B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1892616" y="4312450"/>
            <a:ext cx="2127564" cy="182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8" name="Content Placeholder 47">
            <a:extLst>
              <a:ext uri="{FF2B5EF4-FFF2-40B4-BE49-F238E27FC236}">
                <a16:creationId xmlns:a16="http://schemas.microsoft.com/office/drawing/2014/main" id="{687CB1B8-E084-4A0B-B420-6A52B03D2A91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5801041" y="4312450"/>
            <a:ext cx="2127564" cy="182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0" name="Content Placeholder 49">
            <a:extLst>
              <a:ext uri="{FF2B5EF4-FFF2-40B4-BE49-F238E27FC236}">
                <a16:creationId xmlns:a16="http://schemas.microsoft.com/office/drawing/2014/main" id="{4F882C9B-4CDB-4B16-B8C7-9F76AF2F850C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9692005" y="4312450"/>
            <a:ext cx="2127564" cy="182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4253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3DF094A5-5AB8-4691-B577-0086A42A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rgbClr val="DDE0E3"/>
          </a:solidFill>
        </p:spPr>
        <p:txBody>
          <a:bodyPr/>
          <a:lstStyle>
            <a:lvl1pPr marL="180000" indent="0">
              <a:lnSpc>
                <a:spcPct val="120000"/>
              </a:lnSpc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ING A PHOTOGRAPH INTO THE BACKGROUND</a:t>
            </a:r>
            <a:br>
              <a:rPr lang="en-GB" dirty="0"/>
            </a:br>
            <a:r>
              <a:rPr lang="en-GB" dirty="0"/>
              <a:t>Right click on the edge of the grey area to select the picture placeholder. </a:t>
            </a:r>
            <a:br>
              <a:rPr lang="en-GB" dirty="0"/>
            </a:br>
            <a:r>
              <a:rPr lang="en-GB" dirty="0"/>
              <a:t>A drop down dialogue will appear. Select BRING TO FRONT. </a:t>
            </a:r>
            <a:br>
              <a:rPr lang="en-GB" dirty="0"/>
            </a:br>
            <a:r>
              <a:rPr lang="en-GB" dirty="0"/>
              <a:t>Click on the picture Icon in the middle of the screen to browse your PC to select a picture to insert. </a:t>
            </a:r>
            <a:br>
              <a:rPr lang="en-GB" dirty="0"/>
            </a:br>
            <a:r>
              <a:rPr lang="en-GB" dirty="0"/>
              <a:t>Double click on the file you want to insert and then right click on the edge of the picture and select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6301" y="2736000"/>
            <a:ext cx="9031287" cy="729000"/>
          </a:xfrm>
        </p:spPr>
        <p:txBody>
          <a:bodyPr wrap="square" anchor="t">
            <a:sp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Picture placement slide message</a:t>
            </a:r>
          </a:p>
        </p:txBody>
      </p:sp>
    </p:spTree>
    <p:extLst>
      <p:ext uri="{BB962C8B-B14F-4D97-AF65-F5344CB8AC3E}">
        <p14:creationId xmlns:p14="http://schemas.microsoft.com/office/powerpoint/2010/main" val="40030094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Whit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703581-EE46-1C46-AC79-09987CF3C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 dirty="0"/>
              <a:t>Click to edit title of slid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3DE0C0-F9F3-3B4C-BD99-DC2773D3E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E03CC1-BAA6-3043-98F9-B41F6C0F18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9D3730A-B322-47C6-977A-3E1C12EF1D7F}"/>
              </a:ext>
            </a:extLst>
          </p:cNvPr>
          <p:cNvSpPr/>
          <p:nvPr userDrawn="1"/>
        </p:nvSpPr>
        <p:spPr>
          <a:xfrm>
            <a:off x="360000" y="1231200"/>
            <a:ext cx="11471636" cy="4912425"/>
          </a:xfrm>
          <a:prstGeom prst="rect">
            <a:avLst/>
          </a:prstGeom>
          <a:solidFill>
            <a:srgbClr val="65B4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schemeClr val="bg2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A8389C-6E5A-4A34-A26B-BF20BB053F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74A737-12AA-42D1-AE39-892582BDAC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439CF58-B8C7-4E18-AD46-0BEC31E1CD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2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336821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Subhead Tea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529252-766F-3141-B54F-24406F7A9B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title of slid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70DCC4-1401-574B-A0FD-9B3028D63F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Footer Text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8AF5F0-9FD3-D54B-A46A-6FBD2BBC4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7B5AB01-F165-584F-9D0C-FD8A47F7A7C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5C57E4C-AD29-43D8-85C9-C6BA7B788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3A9C048-7435-4E6F-9995-19D7F7AAF1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EE9CFA3F-C023-4172-BB4E-F55A7A5524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8053718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0100" y="2812200"/>
            <a:ext cx="9031287" cy="729000"/>
          </a:xfrm>
        </p:spPr>
        <p:txBody>
          <a:bodyPr wrap="square" anchor="t">
            <a:spAutoFit/>
          </a:bodyPr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Quo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20100" y="5871600"/>
            <a:ext cx="9031287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Source</a:t>
            </a:r>
          </a:p>
        </p:txBody>
      </p:sp>
      <p:pic>
        <p:nvPicPr>
          <p:cNvPr id="8" name="Picture 7" hidden="1">
            <a:extLst>
              <a:ext uri="{FF2B5EF4-FFF2-40B4-BE49-F238E27FC236}">
                <a16:creationId xmlns:a16="http://schemas.microsoft.com/office/drawing/2014/main" id="{164B3FBC-101B-4058-A4DD-3F74357A34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992" y="336592"/>
            <a:ext cx="1672741" cy="86439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7A841D7-670E-4CBC-BF83-75B3059608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320425" y="1607916"/>
            <a:ext cx="1038380" cy="1041178"/>
          </a:xfrm>
          <a:prstGeom prst="rect">
            <a:avLst/>
          </a:prstGeom>
        </p:spPr>
      </p:pic>
      <p:pic>
        <p:nvPicPr>
          <p:cNvPr id="6" name="Graphic 5" hidden="1">
            <a:extLst>
              <a:ext uri="{FF2B5EF4-FFF2-40B4-BE49-F238E27FC236}">
                <a16:creationId xmlns:a16="http://schemas.microsoft.com/office/drawing/2014/main" id="{C7754142-29A6-4E0A-A3E1-B2FB107D486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1155" y="350878"/>
            <a:ext cx="1861200" cy="676800"/>
          </a:xfrm>
          <a:prstGeom prst="rect">
            <a:avLst/>
          </a:prstGeom>
        </p:spPr>
      </p:pic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EE822B65-63D6-4DFD-B22A-83651BCE076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8774" y="360000"/>
            <a:ext cx="1742401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443337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teal">
    <p:bg>
      <p:bgPr>
        <a:solidFill>
          <a:srgbClr val="7EBD5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2000" y="2812200"/>
            <a:ext cx="9031287" cy="729000"/>
          </a:xfrm>
        </p:spPr>
        <p:txBody>
          <a:bodyPr wrap="square" anchor="t">
            <a:sp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Quo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21999" y="5871600"/>
            <a:ext cx="9031286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Sourc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6307659-3FBE-4456-B0EE-6058933D91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</a:blip>
          <a:stretch>
            <a:fillRect/>
          </a:stretch>
        </p:blipFill>
        <p:spPr>
          <a:xfrm>
            <a:off x="2322000" y="1603672"/>
            <a:ext cx="1038380" cy="1049667"/>
          </a:xfrm>
          <a:prstGeom prst="rect">
            <a:avLst/>
          </a:prstGeom>
        </p:spPr>
      </p:pic>
      <p:pic>
        <p:nvPicPr>
          <p:cNvPr id="7" name="Picture 6" hidden="1">
            <a:extLst>
              <a:ext uri="{FF2B5EF4-FFF2-40B4-BE49-F238E27FC236}">
                <a16:creationId xmlns:a16="http://schemas.microsoft.com/office/drawing/2014/main" id="{3461F122-F5C5-4811-8491-EEDFAD60DC8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1597" y="338400"/>
            <a:ext cx="1674000" cy="860729"/>
          </a:xfrm>
          <a:prstGeom prst="rect">
            <a:avLst/>
          </a:prstGeom>
        </p:spPr>
      </p:pic>
      <p:pic>
        <p:nvPicPr>
          <p:cNvPr id="8" name="Graphic 7" hidden="1">
            <a:extLst>
              <a:ext uri="{FF2B5EF4-FFF2-40B4-BE49-F238E27FC236}">
                <a16:creationId xmlns:a16="http://schemas.microsoft.com/office/drawing/2014/main" id="{B33D926F-76B7-4DDB-9444-CCA42D0DD6F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1155" y="350878"/>
            <a:ext cx="1861200" cy="676800"/>
          </a:xfrm>
          <a:prstGeom prst="rect">
            <a:avLst/>
          </a:prstGeom>
        </p:spPr>
      </p:pic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1A917AA1-B95F-4D86-B80A-350B2322A83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8774" y="360000"/>
            <a:ext cx="1742401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72968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gre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2000" y="2812200"/>
            <a:ext cx="9031287" cy="729000"/>
          </a:xfrm>
        </p:spPr>
        <p:txBody>
          <a:bodyPr wrap="square" anchor="t">
            <a:sp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Quo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22000" y="5869875"/>
            <a:ext cx="9031287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Sourc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507C93C-0757-445A-A287-0BE27C7C89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</a:blip>
          <a:stretch>
            <a:fillRect/>
          </a:stretch>
        </p:blipFill>
        <p:spPr>
          <a:xfrm>
            <a:off x="2322000" y="1603672"/>
            <a:ext cx="1038380" cy="1049667"/>
          </a:xfrm>
          <a:prstGeom prst="rect">
            <a:avLst/>
          </a:prstGeom>
        </p:spPr>
      </p:pic>
      <p:pic>
        <p:nvPicPr>
          <p:cNvPr id="7" name="Picture 6" hidden="1">
            <a:extLst>
              <a:ext uri="{FF2B5EF4-FFF2-40B4-BE49-F238E27FC236}">
                <a16:creationId xmlns:a16="http://schemas.microsoft.com/office/drawing/2014/main" id="{2A92D6CA-6189-4CBA-A770-AB488D30C8D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1597" y="338400"/>
            <a:ext cx="1674000" cy="860729"/>
          </a:xfrm>
          <a:prstGeom prst="rect">
            <a:avLst/>
          </a:prstGeom>
        </p:spPr>
      </p:pic>
      <p:pic>
        <p:nvPicPr>
          <p:cNvPr id="8" name="Graphic 7" hidden="1">
            <a:extLst>
              <a:ext uri="{FF2B5EF4-FFF2-40B4-BE49-F238E27FC236}">
                <a16:creationId xmlns:a16="http://schemas.microsoft.com/office/drawing/2014/main" id="{285D2048-AB48-4A94-ADCB-F90560428BF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1155" y="350878"/>
            <a:ext cx="1861200" cy="6768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52752CB9-18B9-4F77-BEA7-4F35F4E15BC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8774" y="360000"/>
            <a:ext cx="1742401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0884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 noProof="0"/>
              <a:t>Click to edit title of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24B0CF9-8601-4195-AE40-924B298650E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215063" y="1750409"/>
            <a:ext cx="5616574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3B8CACC-D0BE-40FC-A135-8D044B94E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5425" y="1231106"/>
            <a:ext cx="5616213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C0C71DC-89F7-4588-8AA4-D020FC9D061A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15063" y="3000088"/>
            <a:ext cx="5616574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C8DF0E9-B94A-414E-9825-94933E3AD0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5425" y="2480448"/>
            <a:ext cx="5616213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8B3B1BD-2F40-494B-A10A-17F6270719C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15063" y="4249767"/>
            <a:ext cx="5616574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98F1247-7E81-4AFE-972C-0325833ADE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5425" y="3729790"/>
            <a:ext cx="5616213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288F4B-4B0C-4E92-82A7-10C900D13DE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15063" y="5499445"/>
            <a:ext cx="5616574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EE074E9-2CB0-447E-A5D6-065F8872C3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5425" y="4979132"/>
            <a:ext cx="5616213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1C538FF-21D3-4826-8FBE-F4751F046A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2000" y="1883431"/>
            <a:ext cx="4397097" cy="4089400"/>
          </a:xfrm>
          <a:prstGeom prst="rect">
            <a:avLst/>
          </a:prstGeom>
        </p:spPr>
      </p:pic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754D7D39-C401-4CDB-8276-D1EEFEA0684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28675" y="2095500"/>
            <a:ext cx="3952875" cy="2209800"/>
          </a:xfrm>
          <a:solidFill>
            <a:srgbClr val="DDE0E3"/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image or paste he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C8E2C711-690B-4B77-BBA7-AAE547469E8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9C2044-3926-41EC-9879-DD451B4C1A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2447698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3DFF0D7D-AF46-45B4-8107-C24EBDE66A5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869300" y="1726727"/>
            <a:ext cx="2273994" cy="416761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 noProof="0" dirty="0"/>
              <a:t>Click to edit title of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24B0CF9-8601-4195-AE40-924B298650E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215063" y="1749600"/>
            <a:ext cx="5619236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3B8CACC-D0BE-40FC-A135-8D044B94E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5425" y="1231200"/>
            <a:ext cx="5618875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C0C71DC-89F7-4588-8AA4-D020FC9D061A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15063" y="3000000"/>
            <a:ext cx="5619236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C8DF0E9-B94A-414E-9825-94933E3AD0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5425" y="2480400"/>
            <a:ext cx="5618875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8B3B1BD-2F40-494B-A10A-17F6270719C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15063" y="4250400"/>
            <a:ext cx="5619236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98F1247-7E81-4AFE-972C-0325833ADE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5425" y="3729600"/>
            <a:ext cx="5618875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288F4B-4B0C-4E92-82A7-10C900D13DE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15063" y="5500800"/>
            <a:ext cx="5619236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EE074E9-2CB0-447E-A5D6-065F8872C3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5425" y="4978800"/>
            <a:ext cx="5618875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A8FA0853-E306-4792-AD22-71E047EF72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038350" y="2064332"/>
            <a:ext cx="1933575" cy="2998800"/>
          </a:xfrm>
          <a:solidFill>
            <a:srgbClr val="DDE0E3"/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image or paste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9BA7440-4F5D-4078-B2DA-042AF1AFFD7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8D9D9A59-61F0-4971-A119-9175F13313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120434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Graph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 noProof="0" dirty="0"/>
              <a:t>Click to edit title of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24B0CF9-8601-4195-AE40-924B298650E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215063" y="1749600"/>
            <a:ext cx="5619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3B8CACC-D0BE-40FC-A135-8D044B94E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5425" y="1231200"/>
            <a:ext cx="5619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C0C71DC-89F7-4588-8AA4-D020FC9D061A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15063" y="3000000"/>
            <a:ext cx="5619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C8DF0E9-B94A-414E-9825-94933E3AD0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5425" y="2480400"/>
            <a:ext cx="5619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8B3B1BD-2F40-494B-A10A-17F6270719C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15063" y="4250400"/>
            <a:ext cx="5619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98F1247-7E81-4AFE-972C-0325833ADE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5425" y="3729600"/>
            <a:ext cx="5619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288F4B-4B0C-4E92-82A7-10C900D13DE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15063" y="5500800"/>
            <a:ext cx="5619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EE074E9-2CB0-447E-A5D6-065F8872C3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5425" y="4978800"/>
            <a:ext cx="5619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F4CD0C0-1F13-4748-9E05-DD5C257143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000" y="1643846"/>
            <a:ext cx="5187359" cy="3358181"/>
          </a:xfrm>
          <a:prstGeom prst="rect">
            <a:avLst/>
          </a:prstGeom>
        </p:spPr>
      </p:pic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A450EF5D-6797-4055-88DE-8D7F08CCAF2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037020" y="1937724"/>
            <a:ext cx="3981600" cy="2757600"/>
          </a:xfrm>
          <a:solidFill>
            <a:srgbClr val="DDE0E3"/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image or paste he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DDEEBE8-B80F-464C-A39F-17B31A849BB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78B9E692-30DD-45D2-A22B-66505F54321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890809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icon co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 noProof="0" dirty="0"/>
              <a:t>Click to edit title of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24B0CF9-8601-4195-AE40-924B298650E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785600" y="1750818"/>
            <a:ext cx="10047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3B8CACC-D0BE-40FC-A135-8D044B94E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85600" y="1231583"/>
            <a:ext cx="10047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C0C71DC-89F7-4588-8AA4-D020FC9D061A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1785600" y="3000287"/>
            <a:ext cx="10047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C8DF0E9-B94A-414E-9825-94933E3AD0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85600" y="2481052"/>
            <a:ext cx="10047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8B3B1BD-2F40-494B-A10A-17F6270719C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1785600" y="4249756"/>
            <a:ext cx="10047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98F1247-7E81-4AFE-972C-0325833ADE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85600" y="3730521"/>
            <a:ext cx="10047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288F4B-4B0C-4E92-82A7-10C900D13DE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1785600" y="5499225"/>
            <a:ext cx="10047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EE074E9-2CB0-447E-A5D6-065F8872C3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85600" y="4979991"/>
            <a:ext cx="10047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4ACC9EF-B4E2-47E0-BE2E-550EB78D2D0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F85F3C54-74D2-4E50-B7A2-96A21A23F8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5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772857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ic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 noProof="0"/>
              <a:t>Click to edit title of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24B0CF9-8601-4195-AE40-924B298650E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785600" y="1751092"/>
            <a:ext cx="10047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3B8CACC-D0BE-40FC-A135-8D044B94E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85600" y="1231857"/>
            <a:ext cx="10047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C0C71DC-89F7-4588-8AA4-D020FC9D061A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1785600" y="3000109"/>
            <a:ext cx="10047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C8DF0E9-B94A-414E-9825-94933E3AD0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85600" y="2480874"/>
            <a:ext cx="10047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8B3B1BD-2F40-494B-A10A-17F6270719C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1785600" y="4249126"/>
            <a:ext cx="10047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98F1247-7E81-4AFE-972C-0325833ADE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85600" y="3729891"/>
            <a:ext cx="10047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288F4B-4B0C-4E92-82A7-10C900D13DE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1785600" y="5498143"/>
            <a:ext cx="10047600" cy="6444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 noProof="0" dirty="0"/>
              <a:t>Supporting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EE074E9-2CB0-447E-A5D6-065F8872C3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85600" y="4978909"/>
            <a:ext cx="10047600" cy="433388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Key point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02396F6-5E53-4B05-B21A-B67645855D5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5D3EFA71-6A51-4EAE-B4AE-14D8089295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41710394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RE">
    <p:bg>
      <p:bgPr>
        <a:solidFill>
          <a:srgbClr val="055A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70" y="1228725"/>
            <a:ext cx="6480000" cy="1118630"/>
          </a:xfrm>
        </p:spPr>
        <p:txBody>
          <a:bodyPr wrap="square" anchor="b" anchorCtr="0">
            <a:noAutofit/>
          </a:bodyPr>
          <a:lstStyle>
            <a:lvl1pPr>
              <a:defRPr sz="585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Divider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9570" y="2380800"/>
            <a:ext cx="6480000" cy="4247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Divider subheading (or delete)</a:t>
            </a:r>
          </a:p>
        </p:txBody>
      </p:sp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C751E150-D939-4154-9CF1-45F6484F30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9569" y="548986"/>
            <a:ext cx="1200693" cy="617065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CF0D1BB-6C13-4620-BC6E-65E8787A0B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01951" y="0"/>
            <a:ext cx="4990049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ACDEA84-F2FE-497C-884C-5127148EC6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0362" y="2876550"/>
            <a:ext cx="6479207" cy="32670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9B29770-3E63-463E-9F05-A4DBE49A1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6600825"/>
            <a:ext cx="6478587" cy="150813"/>
          </a:xfrm>
        </p:spPr>
        <p:txBody>
          <a:bodyPr tIns="0" rIns="0" bIns="0" anchor="b" anchorCtr="0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tabLst/>
              <a:defRPr lang="en-US" sz="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180000" lvl="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tabLst/>
            </a:pPr>
            <a:r>
              <a:rPr lang="en-US" dirty="0"/>
              <a:t>Enter source here</a:t>
            </a:r>
          </a:p>
        </p:txBody>
      </p:sp>
      <p:pic>
        <p:nvPicPr>
          <p:cNvPr id="8" name="Graphic 7" hidden="1">
            <a:extLst>
              <a:ext uri="{FF2B5EF4-FFF2-40B4-BE49-F238E27FC236}">
                <a16:creationId xmlns:a16="http://schemas.microsoft.com/office/drawing/2014/main" id="{88EF5AF4-6F35-44E5-8C78-E1FE4D7A284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775" y="555674"/>
            <a:ext cx="1692901" cy="615600"/>
          </a:xfrm>
          <a:prstGeom prst="rect">
            <a:avLst/>
          </a:prstGeom>
        </p:spPr>
      </p:pic>
      <p:pic>
        <p:nvPicPr>
          <p:cNvPr id="13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CF80FB8B-7C2D-4B13-88DC-42AE96A9554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8774" y="360000"/>
            <a:ext cx="1742401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15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1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co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Click to edit title of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Footer Text here if required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US" smtClean="0"/>
              <a:t>‹#›</a:t>
            </a:fld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8BCF627-9B1A-4433-BDF1-E3FAB03F3F9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61366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94A42B3-386F-4570-AF77-B09584A4EDB3}"/>
              </a:ext>
            </a:extLst>
          </p:cNvPr>
          <p:cNvCxnSpPr>
            <a:cxnSpLocks/>
          </p:cNvCxnSpPr>
          <p:nvPr userDrawn="1"/>
        </p:nvCxnSpPr>
        <p:spPr>
          <a:xfrm flipV="1">
            <a:off x="3818275" y="342546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0D959B6-B882-4748-BFB2-A4FB2158BE62}"/>
              </a:ext>
            </a:extLst>
          </p:cNvPr>
          <p:cNvCxnSpPr>
            <a:cxnSpLocks/>
          </p:cNvCxnSpPr>
          <p:nvPr userDrawn="1"/>
        </p:nvCxnSpPr>
        <p:spPr>
          <a:xfrm flipV="1">
            <a:off x="4575184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4815102-2641-453E-833D-D8FB5536C9ED}"/>
              </a:ext>
            </a:extLst>
          </p:cNvPr>
          <p:cNvCxnSpPr>
            <a:cxnSpLocks/>
          </p:cNvCxnSpPr>
          <p:nvPr userDrawn="1"/>
        </p:nvCxnSpPr>
        <p:spPr>
          <a:xfrm flipV="1">
            <a:off x="5332093" y="342546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517067F-C719-43C2-9A62-B3C3D555939F}"/>
              </a:ext>
            </a:extLst>
          </p:cNvPr>
          <p:cNvCxnSpPr>
            <a:cxnSpLocks/>
          </p:cNvCxnSpPr>
          <p:nvPr userDrawn="1"/>
        </p:nvCxnSpPr>
        <p:spPr>
          <a:xfrm flipV="1">
            <a:off x="6089002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2760275-CA83-4E5F-8AC7-CEF35CDF3259}"/>
              </a:ext>
            </a:extLst>
          </p:cNvPr>
          <p:cNvCxnSpPr>
            <a:cxnSpLocks/>
          </p:cNvCxnSpPr>
          <p:nvPr userDrawn="1"/>
        </p:nvCxnSpPr>
        <p:spPr>
          <a:xfrm flipV="1">
            <a:off x="6845911" y="342546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15A3289-08E1-42E1-A8E7-558A109E7B20}"/>
              </a:ext>
            </a:extLst>
          </p:cNvPr>
          <p:cNvCxnSpPr>
            <a:cxnSpLocks/>
          </p:cNvCxnSpPr>
          <p:nvPr userDrawn="1"/>
        </p:nvCxnSpPr>
        <p:spPr>
          <a:xfrm flipV="1">
            <a:off x="7602820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F6B6689-405C-4F99-B18D-14B6FFC05438}"/>
              </a:ext>
            </a:extLst>
          </p:cNvPr>
          <p:cNvCxnSpPr>
            <a:cxnSpLocks/>
          </p:cNvCxnSpPr>
          <p:nvPr userDrawn="1"/>
        </p:nvCxnSpPr>
        <p:spPr>
          <a:xfrm flipV="1">
            <a:off x="8359729" y="342546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D354C0A-99FA-4D65-BC96-696B65A17BD6}"/>
              </a:ext>
            </a:extLst>
          </p:cNvPr>
          <p:cNvCxnSpPr>
            <a:cxnSpLocks/>
          </p:cNvCxnSpPr>
          <p:nvPr userDrawn="1"/>
        </p:nvCxnSpPr>
        <p:spPr>
          <a:xfrm flipV="1">
            <a:off x="9116638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012335-8D32-4874-A96B-5ECF744338FC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30456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CCFECC2-CAF0-42FE-AB0A-86EF6A2F3F1E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2304457" y="3425465"/>
            <a:ext cx="1591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FA0EBC2-B451-4574-B391-E3AD65FEE8C2}"/>
              </a:ext>
            </a:extLst>
          </p:cNvPr>
          <p:cNvCxnSpPr>
            <a:cxnSpLocks/>
          </p:cNvCxnSpPr>
          <p:nvPr userDrawn="1"/>
        </p:nvCxnSpPr>
        <p:spPr>
          <a:xfrm flipV="1">
            <a:off x="9873547" y="342546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41E5E33B-7E1B-4C9A-923E-05A72013E6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47548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70EC5FA-DF6B-4761-87C7-3BD98B4F5B43}"/>
              </a:ext>
            </a:extLst>
          </p:cNvPr>
          <p:cNvCxnSpPr>
            <a:cxnSpLocks/>
          </p:cNvCxnSpPr>
          <p:nvPr userDrawn="1"/>
        </p:nvCxnSpPr>
        <p:spPr>
          <a:xfrm>
            <a:off x="988168" y="3687354"/>
            <a:ext cx="10633076" cy="0"/>
          </a:xfrm>
          <a:prstGeom prst="line">
            <a:avLst/>
          </a:prstGeom>
          <a:ln w="50800" cap="rnd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AEBE50A6-2B6E-45D1-B02D-F21587E3A4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061366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618B6BC9-5474-42FF-B42C-57702244466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75184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C1D2A1A7-37B8-4B6A-BE55-666685973E7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89002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CDFFFA45-7FAD-4515-9DB2-9B963F2744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13431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023424D7-92EF-48CA-8D74-122054073E9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127249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A20F9461-9AA2-4A61-85DA-A7CC8D419DD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304457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26B9587E-7FD0-4462-8A18-70AD1CB183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18275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14A68AF4-7308-4EB8-BC50-D2B2571B8C6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332093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0E7A4446-B482-4936-85FD-6335C705960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45911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BF651D25-E3A2-4321-894C-73AE1E67BB9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70340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1CAD672-0E7B-4BD3-8623-0A35A7E0D4F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84158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B2B21BE-659B-4D23-A979-15034F68D7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E5CF7AF6-216F-45FD-B57E-C77989DA8F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Date Placeholder 3">
            <a:extLst>
              <a:ext uri="{FF2B5EF4-FFF2-40B4-BE49-F238E27FC236}">
                <a16:creationId xmlns:a16="http://schemas.microsoft.com/office/drawing/2014/main" id="{E38DB05F-CF65-44F3-9408-F31FA3B97B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768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7474 -1.48148E-6 L 2.70833E-6 -1.48148E-6 " pathEditMode="relative" rAng="0" ptsTypes="AA">
                                      <p:cBhvr>
                                        <p:cTn id="9" dur="1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3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Blue">
    <p:bg>
      <p:bgPr>
        <a:solidFill>
          <a:srgbClr val="65B4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439369"/>
            <a:ext cx="9031286" cy="902555"/>
          </a:xfrm>
        </p:spPr>
        <p:txBody>
          <a:bodyPr wrap="square" anchor="b" anchorCtr="0">
            <a:spAutoFit/>
          </a:bodyPr>
          <a:lstStyle>
            <a:lvl1pPr>
              <a:defRPr sz="585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Divider page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34401" y="3375369"/>
            <a:ext cx="9031286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Use for subheading (or delete)</a:t>
            </a:r>
          </a:p>
        </p:txBody>
      </p:sp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9761CDC8-2B86-4ECE-89F0-E7321ABE44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8586" y="2871788"/>
            <a:ext cx="1200693" cy="617065"/>
          </a:xfrm>
          <a:prstGeom prst="rect">
            <a:avLst/>
          </a:prstGeom>
        </p:spPr>
      </p:pic>
      <p:pic>
        <p:nvPicPr>
          <p:cNvPr id="6" name="Graphic 5" hidden="1">
            <a:extLst>
              <a:ext uri="{FF2B5EF4-FFF2-40B4-BE49-F238E27FC236}">
                <a16:creationId xmlns:a16="http://schemas.microsoft.com/office/drawing/2014/main" id="{4D8BD062-746F-4147-A24D-CBD0AA99970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7188" y="2874963"/>
            <a:ext cx="1742400" cy="633600"/>
          </a:xfrm>
          <a:prstGeom prst="rect">
            <a:avLst/>
          </a:prstGeom>
        </p:spPr>
      </p:pic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3910FD28-F8CC-4BD7-BF40-3385452123D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9912" y="2691608"/>
            <a:ext cx="1742401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42172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 RE">
    <p:bg>
      <p:bgPr>
        <a:solidFill>
          <a:srgbClr val="65B4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70" y="1228725"/>
            <a:ext cx="6480000" cy="1118630"/>
          </a:xfrm>
        </p:spPr>
        <p:txBody>
          <a:bodyPr wrap="square" anchor="b" anchorCtr="0">
            <a:noAutofit/>
          </a:bodyPr>
          <a:lstStyle>
            <a:lvl1pPr>
              <a:defRPr sz="585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Divider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9570" y="2380800"/>
            <a:ext cx="6480000" cy="4247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Divider subheading (or delete)</a:t>
            </a:r>
          </a:p>
        </p:txBody>
      </p:sp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C751E150-D939-4154-9CF1-45F6484F30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9569" y="548986"/>
            <a:ext cx="1200693" cy="617065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CF0D1BB-6C13-4620-BC6E-65E8787A0B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01951" y="0"/>
            <a:ext cx="4990049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ACDEA84-F2FE-497C-884C-5127148EC6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0362" y="2876550"/>
            <a:ext cx="6479207" cy="32670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9B29770-3E63-463E-9F05-A4DBE49A1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6600825"/>
            <a:ext cx="6478587" cy="150813"/>
          </a:xfrm>
        </p:spPr>
        <p:txBody>
          <a:bodyPr tIns="0" rIns="0" bIns="0" anchor="b" anchorCtr="0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tabLst/>
              <a:defRPr lang="en-US" sz="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180000" lvl="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tabLst/>
            </a:pPr>
            <a:r>
              <a:rPr lang="en-US" dirty="0"/>
              <a:t>Enter source here</a:t>
            </a:r>
          </a:p>
        </p:txBody>
      </p:sp>
      <p:pic>
        <p:nvPicPr>
          <p:cNvPr id="8" name="Graphic 7" hidden="1">
            <a:extLst>
              <a:ext uri="{FF2B5EF4-FFF2-40B4-BE49-F238E27FC236}">
                <a16:creationId xmlns:a16="http://schemas.microsoft.com/office/drawing/2014/main" id="{9044A6D3-B146-4C53-AC4A-CE0874789D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775" y="555674"/>
            <a:ext cx="1692901" cy="6156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08AE40D2-7B3F-48B6-9EE1-1293369B082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8774" y="360000"/>
            <a:ext cx="1742401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032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1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purp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2000" y="2812200"/>
            <a:ext cx="9031287" cy="729000"/>
          </a:xfrm>
        </p:spPr>
        <p:txBody>
          <a:bodyPr wrap="square" anchor="t">
            <a:sp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Quo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22000" y="5871600"/>
            <a:ext cx="9031287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Sourc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8FF6056-A013-447A-9FBD-DB91A09B10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</a:blip>
          <a:stretch>
            <a:fillRect/>
          </a:stretch>
        </p:blipFill>
        <p:spPr>
          <a:xfrm>
            <a:off x="2322000" y="1603672"/>
            <a:ext cx="1038380" cy="1049667"/>
          </a:xfrm>
          <a:prstGeom prst="rect">
            <a:avLst/>
          </a:prstGeom>
        </p:spPr>
      </p:pic>
      <p:pic>
        <p:nvPicPr>
          <p:cNvPr id="7" name="Picture 6" hidden="1">
            <a:extLst>
              <a:ext uri="{FF2B5EF4-FFF2-40B4-BE49-F238E27FC236}">
                <a16:creationId xmlns:a16="http://schemas.microsoft.com/office/drawing/2014/main" id="{21C9C91D-CA76-4182-91D7-B8F563B74AA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1597" y="338400"/>
            <a:ext cx="1674000" cy="860729"/>
          </a:xfrm>
          <a:prstGeom prst="rect">
            <a:avLst/>
          </a:prstGeom>
        </p:spPr>
      </p:pic>
      <p:pic>
        <p:nvPicPr>
          <p:cNvPr id="8" name="Graphic 7" hidden="1">
            <a:extLst>
              <a:ext uri="{FF2B5EF4-FFF2-40B4-BE49-F238E27FC236}">
                <a16:creationId xmlns:a16="http://schemas.microsoft.com/office/drawing/2014/main" id="{5D7BA4B4-08AE-41E7-9884-2BC5DB23F2C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1155" y="350878"/>
            <a:ext cx="1861200" cy="6768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3AD505B8-56BE-4DE6-A2D3-E5E885D9B06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8774" y="360000"/>
            <a:ext cx="1742401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9856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6A5FEBD4-7B70-4DAD-9FCC-176F7BBD6C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8AF5F0-9FD3-D54B-A46A-6FBD2BBC4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CAB7F84-9DFB-4370-85C9-B20F445007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0000" y="1232066"/>
            <a:ext cx="56515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/>
              <a:defRPr/>
            </a:lvl1pPr>
            <a:lvl2pPr marL="449263" indent="-180000">
              <a:buClr>
                <a:schemeClr val="tx2"/>
              </a:buClr>
              <a:defRPr/>
            </a:lvl2pPr>
            <a:lvl3pPr marL="630000">
              <a:buClr>
                <a:schemeClr val="tx2"/>
              </a:buClr>
              <a:defRPr sz="1400"/>
            </a:lvl3pPr>
          </a:lstStyle>
          <a:p>
            <a:pPr lvl="0"/>
            <a:r>
              <a:rPr lang="en-US" noProof="0" dirty="0"/>
              <a:t>First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1F94FDE5-8E44-48FD-BD23-08D4C03484F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0000" y="2242249"/>
            <a:ext cx="56515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2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Second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22DDBA6-6641-4C5A-AD54-168BC36EA6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0000" y="3252432"/>
            <a:ext cx="56515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3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Third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9E75B39-D281-40DD-A140-DD706DCDA33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0000" y="4262615"/>
            <a:ext cx="56515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4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Fourth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FD4FD174-BBF9-4459-819A-7B5112F8EA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0000" y="5272798"/>
            <a:ext cx="56515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5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Fifth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3B57FB52-2F21-4AE8-B084-C491C45ED15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20776" y="1232066"/>
            <a:ext cx="56160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6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Sixth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A19853FC-0CDB-4BB7-A510-57477AE052F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20776" y="2242249"/>
            <a:ext cx="56160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7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Seventh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1580269D-0DEE-4571-BF89-D116130C8D3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20776" y="3252432"/>
            <a:ext cx="56160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8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Eight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BAFD3037-F392-43BB-B95C-086B92CDCF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20776" y="4262615"/>
            <a:ext cx="56160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9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Ninth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DB0E9DB-0DEA-4252-B22D-D8C1611C91D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20776" y="5272798"/>
            <a:ext cx="56160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10"/>
              <a:defRPr/>
            </a:lvl1pPr>
            <a:lvl2pPr marL="450000" indent="-180000">
              <a:buFont typeface="Arial" panose="020B0604020202020204" pitchFamily="34" charset="0"/>
              <a:buChar char="•"/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Delete section title boxes not needed</a:t>
            </a:r>
          </a:p>
          <a:p>
            <a:pPr lvl="1"/>
            <a:endParaRPr lang="en-US" noProof="0" dirty="0"/>
          </a:p>
          <a:p>
            <a:pPr lvl="2"/>
            <a:endParaRPr lang="en-US" noProof="0" dirty="0"/>
          </a:p>
          <a:p>
            <a:pPr lvl="2"/>
            <a:endParaRPr lang="en-US" noProof="0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86DFA456-F107-496E-9D8F-95860DCB45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092C5C48-7DE3-4519-894E-3B5F040C45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59264" y="0"/>
            <a:ext cx="5648324" cy="356400"/>
          </a:xfrm>
        </p:spPr>
        <p:txBody>
          <a:bodyPr/>
          <a:lstStyle/>
          <a:p>
            <a:r>
              <a:rPr lang="en-GB" dirty="0"/>
              <a:t>Insert Footer Text here if required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541616CC-6C13-4F10-91CB-4346AB53EA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43452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619FE1A-9B96-422B-A94E-8DF2BC3B386E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  <a:p>
            <a:pPr algn="ctr">
              <a:lnSpc>
                <a:spcPct val="150000"/>
              </a:lnSpc>
            </a:pPr>
            <a:r>
              <a:rPr lang="en-GB" dirty="0"/>
              <a:t>Use New Agenda</a:t>
            </a:r>
          </a:p>
        </p:txBody>
      </p:sp>
    </p:spTree>
    <p:extLst>
      <p:ext uri="{BB962C8B-B14F-4D97-AF65-F5344CB8AC3E}">
        <p14:creationId xmlns:p14="http://schemas.microsoft.com/office/powerpoint/2010/main" val="49022421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ld Sty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9A3BDBFC-35BF-C640-A95A-DBE6DEE579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4444" y="4227680"/>
            <a:ext cx="5919537" cy="438582"/>
          </a:xfrm>
        </p:spPr>
        <p:txBody>
          <a:bodyPr wrap="square">
            <a:spAutoFit/>
          </a:bodyPr>
          <a:lstStyle>
            <a:lvl1pPr marL="0" indent="0" algn="l">
              <a:buNone/>
              <a:defRPr sz="25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Click to edit presentation subtitl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71540E4-5E43-3445-9361-342BABDD7B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508350"/>
            <a:ext cx="5919537" cy="1590307"/>
          </a:xfrm>
        </p:spPr>
        <p:txBody>
          <a:bodyPr>
            <a:spAutoFit/>
          </a:bodyPr>
          <a:lstStyle>
            <a:lvl1pPr>
              <a:lnSpc>
                <a:spcPts val="5700"/>
              </a:lnSpc>
              <a:defRPr sz="56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noProof="0" dirty="0"/>
              <a:t>Click to edit presentation tit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CF3CF69-76EA-4060-BE07-7A302777A3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5878800"/>
            <a:ext cx="11471638" cy="417600"/>
          </a:xfrm>
        </p:spPr>
        <p:txBody>
          <a:bodyPr tIns="0" rIns="0" bIns="0" anchor="b" anchorCtr="0"/>
          <a:lstStyle>
            <a:lvl1pPr marL="0" indent="0">
              <a:buNone/>
              <a:defRPr sz="14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r Investment Professionals only</a:t>
            </a: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B0BD1E3-1D95-4974-B27F-BA6D0C49EE10}"/>
              </a:ext>
            </a:extLst>
          </p:cNvPr>
          <p:cNvSpPr/>
          <p:nvPr userDrawn="1"/>
        </p:nvSpPr>
        <p:spPr>
          <a:xfrm>
            <a:off x="1192511" y="2607587"/>
            <a:ext cx="234000" cy="12071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hidden="1">
            <a:extLst>
              <a:ext uri="{FF2B5EF4-FFF2-40B4-BE49-F238E27FC236}">
                <a16:creationId xmlns:a16="http://schemas.microsoft.com/office/drawing/2014/main" id="{B8B0B767-4933-4317-9231-2492FC4931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95007" y="2602992"/>
            <a:ext cx="2345340" cy="1211960"/>
          </a:xfrm>
          <a:prstGeom prst="rect">
            <a:avLst/>
          </a:prstGeom>
        </p:spPr>
      </p:pic>
      <p:pic>
        <p:nvPicPr>
          <p:cNvPr id="8" name="Graphic 7" hidden="1">
            <a:extLst>
              <a:ext uri="{FF2B5EF4-FFF2-40B4-BE49-F238E27FC236}">
                <a16:creationId xmlns:a16="http://schemas.microsoft.com/office/drawing/2014/main" id="{25706E54-4503-4F51-80C4-78ACECA405E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2700" y="2616857"/>
            <a:ext cx="3560400" cy="1294691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244B07EC-D247-44B5-9B6F-42F847C605F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10200" y="3048000"/>
            <a:ext cx="1371600" cy="762000"/>
          </a:xfrm>
          <a:prstGeom prst="rect">
            <a:avLst/>
          </a:prstGeom>
        </p:spPr>
      </p:pic>
      <p:pic>
        <p:nvPicPr>
          <p:cNvPr id="41" name="Picture 40" descr="A close up of a sign&#10;&#10;Description automatically generated">
            <a:extLst>
              <a:ext uri="{FF2B5EF4-FFF2-40B4-BE49-F238E27FC236}">
                <a16:creationId xmlns:a16="http://schemas.microsoft.com/office/drawing/2014/main" id="{6C7F230A-0402-43A0-B1B7-199F3730630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58618" y="2691606"/>
            <a:ext cx="1742401" cy="6336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576CCE0-5508-4562-9E53-014E961AF3B6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  <a:br>
              <a:rPr lang="en-GB" dirty="0"/>
            </a:br>
            <a:r>
              <a:rPr lang="en-GB" dirty="0"/>
              <a:t>Apply Title Teal Layout</a:t>
            </a:r>
          </a:p>
        </p:txBody>
      </p:sp>
    </p:spTree>
    <p:extLst>
      <p:ext uri="{BB962C8B-B14F-4D97-AF65-F5344CB8AC3E}">
        <p14:creationId xmlns:p14="http://schemas.microsoft.com/office/powerpoint/2010/main" val="20114048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ld Old Sty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632A869-700E-46C5-AC16-D79FACE0221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DDE0E3"/>
          </a:solidFill>
        </p:spPr>
        <p:txBody>
          <a:bodyPr/>
          <a:lstStyle>
            <a:lvl1pPr marL="180000" indent="0">
              <a:lnSpc>
                <a:spcPct val="120000"/>
              </a:lnSpc>
              <a:buNone/>
              <a:defRPr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ING A PHOTOGRAPH INTO THE BACKGROUND</a:t>
            </a:r>
            <a:br>
              <a:rPr lang="en-GB" dirty="0"/>
            </a:br>
            <a:r>
              <a:rPr lang="en-GB" dirty="0"/>
              <a:t>Right click on the edge of the grey area to select the picture placeholder. </a:t>
            </a:r>
            <a:br>
              <a:rPr lang="en-GB" dirty="0"/>
            </a:br>
            <a:r>
              <a:rPr lang="en-GB" dirty="0"/>
              <a:t>A drop down dialogue will appear. Select BRING TO FRONT. </a:t>
            </a:r>
            <a:br>
              <a:rPr lang="en-GB" dirty="0"/>
            </a:br>
            <a:r>
              <a:rPr lang="en-GB" dirty="0"/>
              <a:t>Click on the picture Icon in the middle of the screen to browse your PC to select a picture to insert. </a:t>
            </a:r>
            <a:br>
              <a:rPr lang="en-GB" dirty="0"/>
            </a:br>
            <a:r>
              <a:rPr lang="en-GB" dirty="0"/>
              <a:t>Double click on the file you want to insert and then right click on the edge of the picture and select SEND TO BACK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3BDBFC-35BF-C640-A95A-DBE6DEE579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4400" y="4227680"/>
            <a:ext cx="5919537" cy="438582"/>
          </a:xfrm>
        </p:spPr>
        <p:txBody>
          <a:bodyPr wrap="square">
            <a:spAutoFit/>
          </a:bodyPr>
          <a:lstStyle>
            <a:lvl1pPr marL="0" indent="0" algn="l">
              <a:buNone/>
              <a:defRPr sz="25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Click to edit presentation subtitl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71540E4-5E43-3445-9361-342BABDD7B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508350"/>
            <a:ext cx="5919537" cy="1590307"/>
          </a:xfrm>
        </p:spPr>
        <p:txBody>
          <a:bodyPr>
            <a:spAutoFit/>
          </a:bodyPr>
          <a:lstStyle>
            <a:lvl1pPr>
              <a:lnSpc>
                <a:spcPts val="5700"/>
              </a:lnSpc>
              <a:defRPr sz="56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noProof="0" dirty="0"/>
              <a:t>Click to edit presentation tit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CF3CF69-76EA-4060-BE07-7A302777A3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5878800"/>
            <a:ext cx="11471638" cy="417600"/>
          </a:xfrm>
        </p:spPr>
        <p:txBody>
          <a:bodyPr tIns="0" rIns="0" bIns="0" anchor="b" anchorCtr="0"/>
          <a:lstStyle>
            <a:lvl1pPr marL="0" indent="0">
              <a:buNone/>
              <a:defRPr sz="14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r Investment Professionals onl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3903F41-670E-4CAE-A831-93406FD21313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  <a:br>
              <a:rPr lang="en-GB" dirty="0"/>
            </a:br>
            <a:r>
              <a:rPr lang="en-GB" dirty="0"/>
              <a:t>Apply Title Teal Layout</a:t>
            </a:r>
          </a:p>
        </p:txBody>
      </p:sp>
    </p:spTree>
    <p:extLst>
      <p:ext uri="{BB962C8B-B14F-4D97-AF65-F5344CB8AC3E}">
        <p14:creationId xmlns:p14="http://schemas.microsoft.com/office/powerpoint/2010/main" val="23820306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ral">
    <p:bg>
      <p:bgPr>
        <a:solidFill>
          <a:srgbClr val="EB5C3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hidden="1">
            <a:extLst>
              <a:ext uri="{FF2B5EF4-FFF2-40B4-BE49-F238E27FC236}">
                <a16:creationId xmlns:a16="http://schemas.microsoft.com/office/drawing/2014/main" id="{43427953-1048-47BD-8683-8003ABCC78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95052" y="2602800"/>
            <a:ext cx="2357096" cy="121196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9A3BDBFC-35BF-C640-A95A-DBE6DEE579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4400" y="4227680"/>
            <a:ext cx="5919537" cy="438582"/>
          </a:xfrm>
        </p:spPr>
        <p:txBody>
          <a:bodyPr wrap="square">
            <a:spAutoFit/>
          </a:bodyPr>
          <a:lstStyle>
            <a:lvl1pPr marL="0" indent="0" algn="l"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Click to edit presentation subtitl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71540E4-5E43-3445-9361-342BABDD7B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508350"/>
            <a:ext cx="5919537" cy="1590307"/>
          </a:xfrm>
        </p:spPr>
        <p:txBody>
          <a:bodyPr>
            <a:spAutoFit/>
          </a:bodyPr>
          <a:lstStyle>
            <a:lvl1pPr>
              <a:lnSpc>
                <a:spcPts val="5700"/>
              </a:lnSpc>
              <a:defRPr sz="5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noProof="0" dirty="0"/>
              <a:t>Click to edit presentation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C80422-230F-47CE-BBDE-1A532B20A0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5878800"/>
            <a:ext cx="7610475" cy="417600"/>
          </a:xfrm>
        </p:spPr>
        <p:txBody>
          <a:bodyPr tIns="0" rIns="0" bIns="0" anchor="b" anchorCtr="0"/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For Investment Professionals only (14pt Calibri Bold in Teal or White – Multiple 0.9 line spacing with 10 point space before)</a:t>
            </a:r>
          </a:p>
          <a:p>
            <a:pPr>
              <a:spcBef>
                <a:spcPts val="500"/>
              </a:spcBef>
            </a:pPr>
            <a:r>
              <a:rPr lang="en-GB" sz="1000" b="0" spc="-20" dirty="0"/>
              <a:t>If text to follow – 10pt Roman text in Teal, Multiple 0.9 line spacing with 5 point space before </a:t>
            </a:r>
          </a:p>
        </p:txBody>
      </p:sp>
      <p:pic>
        <p:nvPicPr>
          <p:cNvPr id="7" name="Graphic 6" hidden="1">
            <a:extLst>
              <a:ext uri="{FF2B5EF4-FFF2-40B4-BE49-F238E27FC236}">
                <a16:creationId xmlns:a16="http://schemas.microsoft.com/office/drawing/2014/main" id="{AF87E47F-4A1F-4049-A7D5-59ED19F74B7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0251" y="2611354"/>
            <a:ext cx="3560401" cy="1294691"/>
          </a:xfrm>
          <a:prstGeom prst="rect">
            <a:avLst/>
          </a:prstGeom>
        </p:spPr>
      </p:pic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EF7C01-5D19-4209-ABCC-26B74A0C43B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8618" y="2691606"/>
            <a:ext cx="1742401" cy="6336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B1D7E51-3179-44ED-A895-B397EED75D4C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  <a:br>
              <a:rPr lang="en-GB" dirty="0"/>
            </a:br>
            <a:r>
              <a:rPr lang="en-GB" dirty="0"/>
              <a:t>Apply Title Teal Layout</a:t>
            </a:r>
          </a:p>
        </p:txBody>
      </p:sp>
    </p:spTree>
    <p:extLst>
      <p:ext uri="{BB962C8B-B14F-4D97-AF65-F5344CB8AC3E}">
        <p14:creationId xmlns:p14="http://schemas.microsoft.com/office/powerpoint/2010/main" val="197552175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ight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hidden="1">
            <a:extLst>
              <a:ext uri="{FF2B5EF4-FFF2-40B4-BE49-F238E27FC236}">
                <a16:creationId xmlns:a16="http://schemas.microsoft.com/office/drawing/2014/main" id="{43427953-1048-47BD-8683-8003ABCC78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95052" y="2602800"/>
            <a:ext cx="2357096" cy="121196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9A3BDBFC-35BF-C640-A95A-DBE6DEE579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4400" y="4227680"/>
            <a:ext cx="5919537" cy="438582"/>
          </a:xfrm>
        </p:spPr>
        <p:txBody>
          <a:bodyPr wrap="square">
            <a:spAutoFit/>
          </a:bodyPr>
          <a:lstStyle>
            <a:lvl1pPr marL="0" indent="0" algn="l"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Click to edit presentation subtitl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71540E4-5E43-3445-9361-342BABDD7B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508350"/>
            <a:ext cx="5919537" cy="1590307"/>
          </a:xfrm>
        </p:spPr>
        <p:txBody>
          <a:bodyPr>
            <a:spAutoFit/>
          </a:bodyPr>
          <a:lstStyle>
            <a:lvl1pPr>
              <a:lnSpc>
                <a:spcPts val="5700"/>
              </a:lnSpc>
              <a:defRPr sz="5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noProof="0" dirty="0"/>
              <a:t>Click to edit presentation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C80422-230F-47CE-BBDE-1A532B20A0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5878800"/>
            <a:ext cx="7610475" cy="417600"/>
          </a:xfrm>
        </p:spPr>
        <p:txBody>
          <a:bodyPr tIns="0" rIns="0" bIns="0" anchor="b" anchorCtr="0"/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For Investment Professionals only (14pt Calibri Bold in Teal or White – Multiple 0.9 line spacing with 10 point space before)</a:t>
            </a:r>
          </a:p>
          <a:p>
            <a:pPr>
              <a:spcBef>
                <a:spcPts val="500"/>
              </a:spcBef>
            </a:pPr>
            <a:r>
              <a:rPr lang="en-GB" sz="1000" b="0" spc="-20" dirty="0"/>
              <a:t>If text to follow – 10pt Roman text in Teal, Multiple 0.9 line spacing with 5 point space before </a:t>
            </a:r>
          </a:p>
        </p:txBody>
      </p:sp>
      <p:pic>
        <p:nvPicPr>
          <p:cNvPr id="7" name="Graphic 6" hidden="1">
            <a:extLst>
              <a:ext uri="{FF2B5EF4-FFF2-40B4-BE49-F238E27FC236}">
                <a16:creationId xmlns:a16="http://schemas.microsoft.com/office/drawing/2014/main" id="{AF87E47F-4A1F-4049-A7D5-59ED19F74B7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0251" y="2611354"/>
            <a:ext cx="3560401" cy="1294691"/>
          </a:xfrm>
          <a:prstGeom prst="rect">
            <a:avLst/>
          </a:prstGeom>
        </p:spPr>
      </p:pic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EF7C01-5D19-4209-ABCC-26B74A0C43B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8618" y="2691606"/>
            <a:ext cx="1742401" cy="6336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50F7B2E-EA65-4CC9-8D8B-F0BA1606DCDD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  <a:br>
              <a:rPr lang="en-GB" dirty="0"/>
            </a:br>
            <a:r>
              <a:rPr lang="en-GB" dirty="0"/>
              <a:t>Apply Title Teal Layout</a:t>
            </a:r>
          </a:p>
        </p:txBody>
      </p:sp>
    </p:spTree>
    <p:extLst>
      <p:ext uri="{BB962C8B-B14F-4D97-AF65-F5344CB8AC3E}">
        <p14:creationId xmlns:p14="http://schemas.microsoft.com/office/powerpoint/2010/main" val="71189427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igh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hidden="1">
            <a:extLst>
              <a:ext uri="{FF2B5EF4-FFF2-40B4-BE49-F238E27FC236}">
                <a16:creationId xmlns:a16="http://schemas.microsoft.com/office/drawing/2014/main" id="{43427953-1048-47BD-8683-8003ABCC78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95052" y="2602800"/>
            <a:ext cx="2357096" cy="121196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9A3BDBFC-35BF-C640-A95A-DBE6DEE579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4400" y="4227680"/>
            <a:ext cx="5919537" cy="438582"/>
          </a:xfrm>
        </p:spPr>
        <p:txBody>
          <a:bodyPr wrap="square">
            <a:spAutoFit/>
          </a:bodyPr>
          <a:lstStyle>
            <a:lvl1pPr marL="0" indent="0" algn="l"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Click to edit presentation subtitl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71540E4-5E43-3445-9361-342BABDD7B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508350"/>
            <a:ext cx="5919537" cy="1590307"/>
          </a:xfrm>
        </p:spPr>
        <p:txBody>
          <a:bodyPr>
            <a:spAutoFit/>
          </a:bodyPr>
          <a:lstStyle>
            <a:lvl1pPr>
              <a:lnSpc>
                <a:spcPts val="5700"/>
              </a:lnSpc>
              <a:defRPr sz="5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noProof="0" dirty="0"/>
              <a:t>Click to edit presentation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C80422-230F-47CE-BBDE-1A532B20A0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5878800"/>
            <a:ext cx="7610475" cy="417600"/>
          </a:xfrm>
        </p:spPr>
        <p:txBody>
          <a:bodyPr tIns="0" rIns="0" bIns="0" anchor="b" anchorCtr="0"/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For Investment Professionals only (14pt Calibri Bold in Teal or White – Multiple 0.9 line spacing with 10 point space before)</a:t>
            </a:r>
          </a:p>
          <a:p>
            <a:pPr>
              <a:spcBef>
                <a:spcPts val="500"/>
              </a:spcBef>
            </a:pPr>
            <a:r>
              <a:rPr lang="en-GB" sz="1000" b="0" spc="-20" dirty="0"/>
              <a:t>If text to follow – 10pt Roman text in Teal, Multiple 0.9 line spacing with 5 point space before </a:t>
            </a:r>
          </a:p>
        </p:txBody>
      </p:sp>
      <p:pic>
        <p:nvPicPr>
          <p:cNvPr id="7" name="Graphic 6" hidden="1">
            <a:extLst>
              <a:ext uri="{FF2B5EF4-FFF2-40B4-BE49-F238E27FC236}">
                <a16:creationId xmlns:a16="http://schemas.microsoft.com/office/drawing/2014/main" id="{AF87E47F-4A1F-4049-A7D5-59ED19F74B7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0251" y="2611354"/>
            <a:ext cx="3560401" cy="1294691"/>
          </a:xfrm>
          <a:prstGeom prst="rect">
            <a:avLst/>
          </a:prstGeom>
        </p:spPr>
      </p:pic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EF7C01-5D19-4209-ABCC-26B74A0C43B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8618" y="2691606"/>
            <a:ext cx="1742401" cy="6336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18177E6-9EEC-4847-9CF9-BF10B0A59992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  <a:br>
              <a:rPr lang="en-GB" dirty="0"/>
            </a:br>
            <a:r>
              <a:rPr lang="en-GB" dirty="0"/>
              <a:t>Apply Title Teal Layout</a:t>
            </a:r>
          </a:p>
        </p:txBody>
      </p:sp>
    </p:spTree>
    <p:extLst>
      <p:ext uri="{BB962C8B-B14F-4D97-AF65-F5344CB8AC3E}">
        <p14:creationId xmlns:p14="http://schemas.microsoft.com/office/powerpoint/2010/main" val="29662789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RE">
    <p:bg>
      <p:bgPr>
        <a:solidFill>
          <a:srgbClr val="7EBD5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70" y="1228725"/>
            <a:ext cx="6480000" cy="1118630"/>
          </a:xfrm>
        </p:spPr>
        <p:txBody>
          <a:bodyPr wrap="square" anchor="b" anchorCtr="0">
            <a:noAutofit/>
          </a:bodyPr>
          <a:lstStyle>
            <a:lvl1pPr>
              <a:defRPr lang="en-GB" sz="5850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Divider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9570" y="2380800"/>
            <a:ext cx="6480000" cy="4247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Divider subheading (or delete)</a:t>
            </a:r>
          </a:p>
        </p:txBody>
      </p:sp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C751E150-D939-4154-9CF1-45F6484F30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9569" y="548986"/>
            <a:ext cx="1200693" cy="617065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CF0D1BB-6C13-4620-BC6E-65E8787A0B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01951" y="0"/>
            <a:ext cx="4990049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ACDEA84-F2FE-497C-884C-5127148EC6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0362" y="2876550"/>
            <a:ext cx="6479207" cy="32670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9B29770-3E63-463E-9F05-A4DBE49A1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6600825"/>
            <a:ext cx="6478587" cy="150813"/>
          </a:xfrm>
        </p:spPr>
        <p:txBody>
          <a:bodyPr tIns="0" rIns="0" bIns="0" anchor="b" anchorCtr="0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tabLst/>
              <a:defRPr lang="en-US" sz="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180000" lvl="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tabLst/>
            </a:pPr>
            <a:r>
              <a:rPr lang="en-US" dirty="0"/>
              <a:t>Enter source here</a:t>
            </a:r>
          </a:p>
        </p:txBody>
      </p:sp>
      <p:pic>
        <p:nvPicPr>
          <p:cNvPr id="8" name="Graphic 7" hidden="1">
            <a:extLst>
              <a:ext uri="{FF2B5EF4-FFF2-40B4-BE49-F238E27FC236}">
                <a16:creationId xmlns:a16="http://schemas.microsoft.com/office/drawing/2014/main" id="{F0CD49A7-7300-47F1-8C9C-8BA8481C9C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775" y="555674"/>
            <a:ext cx="1692901" cy="6156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21DC8C17-58B4-4BA9-9790-AFF832B1EC8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8774" y="360000"/>
            <a:ext cx="1742401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425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1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Old Sty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439369"/>
            <a:ext cx="9031286" cy="902555"/>
          </a:xfrm>
        </p:spPr>
        <p:txBody>
          <a:bodyPr wrap="square" anchor="b" anchorCtr="0">
            <a:spAutoFit/>
          </a:bodyPr>
          <a:lstStyle>
            <a:lvl1pPr>
              <a:defRPr sz="585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ivider page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34401" y="3375369"/>
            <a:ext cx="9031286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Use for subheading (or delete)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C2FED3E-96C1-406B-8B03-7BD790A89A19}"/>
              </a:ext>
            </a:extLst>
          </p:cNvPr>
          <p:cNvSpPr/>
          <p:nvPr userDrawn="1"/>
        </p:nvSpPr>
        <p:spPr>
          <a:xfrm>
            <a:off x="645719" y="2849521"/>
            <a:ext cx="119483" cy="48422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 hidden="1">
            <a:extLst>
              <a:ext uri="{FF2B5EF4-FFF2-40B4-BE49-F238E27FC236}">
                <a16:creationId xmlns:a16="http://schemas.microsoft.com/office/drawing/2014/main" id="{E0F422D0-CC00-4B46-AFC3-69F436972B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7228" y="2844926"/>
            <a:ext cx="1195415" cy="618839"/>
          </a:xfrm>
          <a:prstGeom prst="rect">
            <a:avLst/>
          </a:prstGeom>
        </p:spPr>
      </p:pic>
      <p:pic>
        <p:nvPicPr>
          <p:cNvPr id="8" name="Graphic 7" hidden="1">
            <a:extLst>
              <a:ext uri="{FF2B5EF4-FFF2-40B4-BE49-F238E27FC236}">
                <a16:creationId xmlns:a16="http://schemas.microsoft.com/office/drawing/2014/main" id="{C981BB65-E87D-413E-A3D6-868DA04372A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618" y="2874964"/>
            <a:ext cx="1742401" cy="633600"/>
          </a:xfrm>
          <a:prstGeom prst="rect">
            <a:avLst/>
          </a:prstGeom>
        </p:spPr>
      </p:pic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60B323B1-5089-47A1-BFCC-0D489BD43B0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8618" y="2691606"/>
            <a:ext cx="1742401" cy="6336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27A5DE9-313B-41C1-8A87-9B124511F1E2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</p:txBody>
      </p:sp>
    </p:spTree>
    <p:extLst>
      <p:ext uri="{BB962C8B-B14F-4D97-AF65-F5344CB8AC3E}">
        <p14:creationId xmlns:p14="http://schemas.microsoft.com/office/powerpoint/2010/main" val="21451383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ld Sty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D774BA9-108B-4A61-879E-1D3D21CAC27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marL="180000" marR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ING A PHOTOGRAPH INTO THE BACKGROUND</a:t>
            </a:r>
            <a:br>
              <a:rPr lang="en-GB" dirty="0"/>
            </a:br>
            <a:r>
              <a:rPr lang="en-GB" dirty="0"/>
              <a:t>Right click on the edge of the grey area to select the picture placeholder. A drop down dialogue will appear. Select BRING TO FRONT. </a:t>
            </a:r>
            <a:br>
              <a:rPr lang="en-GB" dirty="0"/>
            </a:br>
            <a:r>
              <a:rPr lang="en-GB" dirty="0"/>
              <a:t>Click on the picture Icon in the middle of the screen to browse your PC to select a picture to insert. </a:t>
            </a:r>
            <a:br>
              <a:rPr lang="en-GB" dirty="0"/>
            </a:br>
            <a:r>
              <a:rPr lang="en-GB" dirty="0"/>
              <a:t>Double click on the file you want to insert and then right click on the edge of the picture and select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439369"/>
            <a:ext cx="9031286" cy="902555"/>
          </a:xfrm>
        </p:spPr>
        <p:txBody>
          <a:bodyPr wrap="square" anchor="b" anchorCtr="0">
            <a:spAutoFit/>
          </a:bodyPr>
          <a:lstStyle>
            <a:lvl1pPr>
              <a:defRPr sz="585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ivider page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34401" y="3375369"/>
            <a:ext cx="9031286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Use for subheading (or delete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B1801D8-F5AB-474F-A878-95F5609B574A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</p:txBody>
      </p:sp>
    </p:spTree>
    <p:extLst>
      <p:ext uri="{BB962C8B-B14F-4D97-AF65-F5344CB8AC3E}">
        <p14:creationId xmlns:p14="http://schemas.microsoft.com/office/powerpoint/2010/main" val="14779828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coral">
    <p:bg>
      <p:bgPr>
        <a:solidFill>
          <a:srgbClr val="EB5C3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45743397-E79C-4184-B414-45596879B5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8586" y="2871788"/>
            <a:ext cx="1200693" cy="61706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0" y="2439369"/>
            <a:ext cx="9031287" cy="902555"/>
          </a:xfrm>
        </p:spPr>
        <p:txBody>
          <a:bodyPr wrap="square" anchor="b" anchorCtr="0">
            <a:spAutoFit/>
          </a:bodyPr>
          <a:lstStyle>
            <a:lvl1pPr>
              <a:defRPr sz="585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Divider page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34400" y="3375369"/>
            <a:ext cx="9031287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Use for subheading (or delete)</a:t>
            </a:r>
          </a:p>
        </p:txBody>
      </p:sp>
      <p:pic>
        <p:nvPicPr>
          <p:cNvPr id="6" name="Graphic 5" hidden="1">
            <a:extLst>
              <a:ext uri="{FF2B5EF4-FFF2-40B4-BE49-F238E27FC236}">
                <a16:creationId xmlns:a16="http://schemas.microsoft.com/office/drawing/2014/main" id="{01255960-5F76-45A5-96FA-0E006674CF6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7188" y="2874963"/>
            <a:ext cx="1742400" cy="633600"/>
          </a:xfrm>
          <a:prstGeom prst="rect">
            <a:avLst/>
          </a:prstGeom>
        </p:spPr>
      </p:pic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44F0D818-D487-4592-A4E5-A3923714FC9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9912" y="2691607"/>
            <a:ext cx="1742401" cy="6336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DD0E128-26BB-451C-8912-3611D4911677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</p:txBody>
      </p:sp>
    </p:spTree>
    <p:extLst>
      <p:ext uri="{BB962C8B-B14F-4D97-AF65-F5344CB8AC3E}">
        <p14:creationId xmlns:p14="http://schemas.microsoft.com/office/powerpoint/2010/main" val="3571703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09" userDrawn="1">
          <p15:clr>
            <a:srgbClr val="FBAE40"/>
          </p15:clr>
        </p15:guide>
        <p15:guide id="2" orient="horz" pos="2109" userDrawn="1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Purple">
    <p:bg>
      <p:bgPr>
        <a:solidFill>
          <a:srgbClr val="7B76B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439369"/>
            <a:ext cx="9031286" cy="902555"/>
          </a:xfrm>
        </p:spPr>
        <p:txBody>
          <a:bodyPr wrap="square" anchor="b" anchorCtr="0">
            <a:spAutoFit/>
          </a:bodyPr>
          <a:lstStyle>
            <a:lvl1pPr>
              <a:defRPr sz="585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Divider page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34401" y="3375369"/>
            <a:ext cx="9031286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Use for subheading (or delete)</a:t>
            </a:r>
          </a:p>
        </p:txBody>
      </p:sp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AB580C90-1808-4992-BFFE-F740C13105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8586" y="2871788"/>
            <a:ext cx="1200693" cy="617065"/>
          </a:xfrm>
          <a:prstGeom prst="rect">
            <a:avLst/>
          </a:prstGeom>
        </p:spPr>
      </p:pic>
      <p:pic>
        <p:nvPicPr>
          <p:cNvPr id="6" name="Graphic 5" hidden="1">
            <a:extLst>
              <a:ext uri="{FF2B5EF4-FFF2-40B4-BE49-F238E27FC236}">
                <a16:creationId xmlns:a16="http://schemas.microsoft.com/office/drawing/2014/main" id="{D7E700BD-DC31-4749-BD5D-2D1470AD72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7188" y="2874963"/>
            <a:ext cx="1742400" cy="633600"/>
          </a:xfrm>
          <a:prstGeom prst="rect">
            <a:avLst/>
          </a:prstGeom>
        </p:spPr>
      </p:pic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3D876F7F-03F0-431D-8900-11B48A2741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9912" y="2691608"/>
            <a:ext cx="1742401" cy="6336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38314A9-4238-4D50-8FFC-E0EEBC313D2E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</p:txBody>
      </p:sp>
    </p:spTree>
    <p:extLst>
      <p:ext uri="{BB962C8B-B14F-4D97-AF65-F5344CB8AC3E}">
        <p14:creationId xmlns:p14="http://schemas.microsoft.com/office/powerpoint/2010/main" val="381214336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Coral RE">
    <p:bg>
      <p:bgPr>
        <a:solidFill>
          <a:srgbClr val="EB5C3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70" y="1228725"/>
            <a:ext cx="6480000" cy="1118630"/>
          </a:xfrm>
        </p:spPr>
        <p:txBody>
          <a:bodyPr wrap="square" anchor="b" anchorCtr="0">
            <a:noAutofit/>
          </a:bodyPr>
          <a:lstStyle>
            <a:lvl1pPr>
              <a:defRPr sz="585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Divider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9570" y="2380800"/>
            <a:ext cx="6480000" cy="4247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Divider subheading (or delete)</a:t>
            </a:r>
          </a:p>
        </p:txBody>
      </p:sp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C751E150-D939-4154-9CF1-45F6484F30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9569" y="548986"/>
            <a:ext cx="1200693" cy="617065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CF0D1BB-6C13-4620-BC6E-65E8787A0B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01951" y="0"/>
            <a:ext cx="4990049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ACDEA84-F2FE-497C-884C-5127148EC6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0362" y="2876550"/>
            <a:ext cx="6479207" cy="32670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9B29770-3E63-463E-9F05-A4DBE49A1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6600825"/>
            <a:ext cx="6478587" cy="150813"/>
          </a:xfrm>
        </p:spPr>
        <p:txBody>
          <a:bodyPr tIns="0" rIns="0" bIns="0" anchor="b" anchorCtr="0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tabLst/>
              <a:defRPr lang="en-US" sz="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180000" lvl="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tabLst/>
            </a:pPr>
            <a:r>
              <a:rPr lang="en-US" dirty="0"/>
              <a:t>Enter source here</a:t>
            </a:r>
          </a:p>
        </p:txBody>
      </p:sp>
      <p:pic>
        <p:nvPicPr>
          <p:cNvPr id="8" name="Graphic 7" hidden="1">
            <a:extLst>
              <a:ext uri="{FF2B5EF4-FFF2-40B4-BE49-F238E27FC236}">
                <a16:creationId xmlns:a16="http://schemas.microsoft.com/office/drawing/2014/main" id="{92A3C6FE-EF94-448A-A706-DC524C67A6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775" y="555674"/>
            <a:ext cx="1692901" cy="6156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33FEFB6F-AAA5-458B-8F23-9F7856D34BD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8774" y="360000"/>
            <a:ext cx="1742401" cy="6336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DE1296B-7435-4915-8B42-88242E7666BC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</p:txBody>
      </p:sp>
    </p:spTree>
    <p:extLst>
      <p:ext uri="{BB962C8B-B14F-4D97-AF65-F5344CB8AC3E}">
        <p14:creationId xmlns:p14="http://schemas.microsoft.com/office/powerpoint/2010/main" val="2960198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1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urple RE">
    <p:bg>
      <p:bgPr>
        <a:solidFill>
          <a:srgbClr val="7B76B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70" y="1228725"/>
            <a:ext cx="6480000" cy="1118630"/>
          </a:xfrm>
        </p:spPr>
        <p:txBody>
          <a:bodyPr wrap="square" anchor="b" anchorCtr="0">
            <a:noAutofit/>
          </a:bodyPr>
          <a:lstStyle>
            <a:lvl1pPr>
              <a:defRPr sz="585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Divider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9570" y="2380800"/>
            <a:ext cx="6480000" cy="4247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Divider subheading (or delete)</a:t>
            </a:r>
          </a:p>
        </p:txBody>
      </p:sp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C751E150-D939-4154-9CF1-45F6484F30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9569" y="548986"/>
            <a:ext cx="1200693" cy="617065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CF0D1BB-6C13-4620-BC6E-65E8787A0B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01951" y="0"/>
            <a:ext cx="4990049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ACDEA84-F2FE-497C-884C-5127148EC6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0362" y="2876550"/>
            <a:ext cx="6479207" cy="32670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9B29770-3E63-463E-9F05-A4DBE49A1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6600825"/>
            <a:ext cx="6478587" cy="150813"/>
          </a:xfrm>
        </p:spPr>
        <p:txBody>
          <a:bodyPr tIns="0" rIns="0" bIns="0" anchor="b" anchorCtr="0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tabLst/>
              <a:defRPr lang="en-US" sz="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180000" lvl="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tabLst/>
            </a:pPr>
            <a:r>
              <a:rPr lang="en-US" dirty="0"/>
              <a:t>Enter source here</a:t>
            </a:r>
          </a:p>
        </p:txBody>
      </p:sp>
      <p:pic>
        <p:nvPicPr>
          <p:cNvPr id="8" name="Graphic 7" hidden="1">
            <a:extLst>
              <a:ext uri="{FF2B5EF4-FFF2-40B4-BE49-F238E27FC236}">
                <a16:creationId xmlns:a16="http://schemas.microsoft.com/office/drawing/2014/main" id="{A7C60DD7-E881-48DC-87C4-1FC933C649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775" y="555674"/>
            <a:ext cx="1692901" cy="6156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9668CACE-0AE7-4B82-90FC-35F6FBBC50A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8774" y="360000"/>
            <a:ext cx="1742400" cy="6336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A78BD48-30A9-4DCE-9EE0-5A7F7A23C20C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</p:txBody>
      </p:sp>
    </p:spTree>
    <p:extLst>
      <p:ext uri="{BB962C8B-B14F-4D97-AF65-F5344CB8AC3E}">
        <p14:creationId xmlns:p14="http://schemas.microsoft.com/office/powerpoint/2010/main" val="3095887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1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Coral">
    <p:bg>
      <p:bgPr>
        <a:solidFill>
          <a:srgbClr val="EB5C3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2000" y="2812200"/>
            <a:ext cx="9031287" cy="729000"/>
          </a:xfrm>
        </p:spPr>
        <p:txBody>
          <a:bodyPr wrap="square" anchor="t">
            <a:sp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Quo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22000" y="5871600"/>
            <a:ext cx="9031287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Sourc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E15D270-4288-49C7-9D70-D8680EE1B4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</a:blip>
          <a:stretch>
            <a:fillRect/>
          </a:stretch>
        </p:blipFill>
        <p:spPr>
          <a:xfrm>
            <a:off x="2322000" y="1603672"/>
            <a:ext cx="1038380" cy="1049667"/>
          </a:xfrm>
          <a:prstGeom prst="rect">
            <a:avLst/>
          </a:prstGeom>
        </p:spPr>
      </p:pic>
      <p:pic>
        <p:nvPicPr>
          <p:cNvPr id="9" name="Picture 8" hidden="1">
            <a:extLst>
              <a:ext uri="{FF2B5EF4-FFF2-40B4-BE49-F238E27FC236}">
                <a16:creationId xmlns:a16="http://schemas.microsoft.com/office/drawing/2014/main" id="{9683DE43-0202-4A71-AC72-DD3A2CCD1C5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1597" y="338400"/>
            <a:ext cx="1674000" cy="860729"/>
          </a:xfrm>
          <a:prstGeom prst="rect">
            <a:avLst/>
          </a:prstGeom>
        </p:spPr>
      </p:pic>
      <p:pic>
        <p:nvPicPr>
          <p:cNvPr id="7" name="Graphic 6" hidden="1">
            <a:extLst>
              <a:ext uri="{FF2B5EF4-FFF2-40B4-BE49-F238E27FC236}">
                <a16:creationId xmlns:a16="http://schemas.microsoft.com/office/drawing/2014/main" id="{88825A2D-BDF0-43F0-ACBE-DAD064E041E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1155" y="350878"/>
            <a:ext cx="1861200" cy="676800"/>
          </a:xfrm>
          <a:prstGeom prst="rect">
            <a:avLst/>
          </a:prstGeom>
        </p:spPr>
      </p:pic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2E7C120C-3A45-499C-98B7-76D1825AF4E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8774" y="360000"/>
            <a:ext cx="1742401" cy="6336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151722F-502C-4DAB-92DE-1429D14463BB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</p:txBody>
      </p:sp>
    </p:spTree>
    <p:extLst>
      <p:ext uri="{BB962C8B-B14F-4D97-AF65-F5344CB8AC3E}">
        <p14:creationId xmlns:p14="http://schemas.microsoft.com/office/powerpoint/2010/main" val="121771976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blue">
    <p:bg>
      <p:bgPr>
        <a:solidFill>
          <a:srgbClr val="17B0A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1999" y="2812200"/>
            <a:ext cx="9031286" cy="729000"/>
          </a:xfrm>
        </p:spPr>
        <p:txBody>
          <a:bodyPr wrap="square" anchor="t">
            <a:sp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Quo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32800" y="5871600"/>
            <a:ext cx="9031287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Source</a:t>
            </a:r>
          </a:p>
        </p:txBody>
      </p:sp>
      <p:pic>
        <p:nvPicPr>
          <p:cNvPr id="7" name="Picture 6" hidden="1">
            <a:extLst>
              <a:ext uri="{FF2B5EF4-FFF2-40B4-BE49-F238E27FC236}">
                <a16:creationId xmlns:a16="http://schemas.microsoft.com/office/drawing/2014/main" id="{224B7B8E-481D-4C83-8B19-CC0558055BA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992" y="336592"/>
            <a:ext cx="1672741" cy="864393"/>
          </a:xfrm>
          <a:prstGeom prst="rect">
            <a:avLst/>
          </a:prstGeom>
        </p:spPr>
      </p:pic>
      <p:pic>
        <p:nvPicPr>
          <p:cNvPr id="12" name="Graphic 11" hidden="1">
            <a:extLst>
              <a:ext uri="{FF2B5EF4-FFF2-40B4-BE49-F238E27FC236}">
                <a16:creationId xmlns:a16="http://schemas.microsoft.com/office/drawing/2014/main" id="{25F9ADE3-9836-4603-88A8-C4031B1FCE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1155" y="350878"/>
            <a:ext cx="1861200" cy="6768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DD32F33-7A93-4CF7-8C19-54B5B6597D2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biLevel thresh="25000"/>
          </a:blip>
          <a:stretch>
            <a:fillRect/>
          </a:stretch>
        </p:blipFill>
        <p:spPr>
          <a:xfrm>
            <a:off x="2322000" y="1603672"/>
            <a:ext cx="1038380" cy="1049667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6B2851B0-D410-49D8-8528-1DC87C3607A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8774" y="360000"/>
            <a:ext cx="1742401" cy="6336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A0E48A9-6727-4104-824B-1E522A9236AC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</p:txBody>
      </p:sp>
    </p:spTree>
    <p:extLst>
      <p:ext uri="{BB962C8B-B14F-4D97-AF65-F5344CB8AC3E}">
        <p14:creationId xmlns:p14="http://schemas.microsoft.com/office/powerpoint/2010/main" val="50679268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green">
    <p:bg>
      <p:bgPr>
        <a:solidFill>
          <a:srgbClr val="E58E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1999" y="2812200"/>
            <a:ext cx="9031286" cy="729000"/>
          </a:xfrm>
        </p:spPr>
        <p:txBody>
          <a:bodyPr wrap="square" anchor="t">
            <a:sp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Quo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32800" y="5871600"/>
            <a:ext cx="9031287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Source</a:t>
            </a:r>
          </a:p>
        </p:txBody>
      </p:sp>
      <p:pic>
        <p:nvPicPr>
          <p:cNvPr id="7" name="Picture 6" hidden="1">
            <a:extLst>
              <a:ext uri="{FF2B5EF4-FFF2-40B4-BE49-F238E27FC236}">
                <a16:creationId xmlns:a16="http://schemas.microsoft.com/office/drawing/2014/main" id="{00FA3855-5816-483A-820D-CB7454F8B2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1597" y="338400"/>
            <a:ext cx="1674000" cy="860729"/>
          </a:xfrm>
          <a:prstGeom prst="rect">
            <a:avLst/>
          </a:prstGeom>
        </p:spPr>
      </p:pic>
      <p:pic>
        <p:nvPicPr>
          <p:cNvPr id="8" name="Graphic 7" hidden="1">
            <a:extLst>
              <a:ext uri="{FF2B5EF4-FFF2-40B4-BE49-F238E27FC236}">
                <a16:creationId xmlns:a16="http://schemas.microsoft.com/office/drawing/2014/main" id="{A80E70B3-FB6A-4205-801F-B7E240ACAA7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1155" y="350878"/>
            <a:ext cx="1861200" cy="6768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CD392BE-A4A7-4C05-9EF1-A6CCFDFB80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biLevel thresh="25000"/>
          </a:blip>
          <a:stretch>
            <a:fillRect/>
          </a:stretch>
        </p:blipFill>
        <p:spPr>
          <a:xfrm>
            <a:off x="2322000" y="1603672"/>
            <a:ext cx="1038380" cy="1049667"/>
          </a:xfrm>
          <a:prstGeom prst="rect">
            <a:avLst/>
          </a:prstGeom>
        </p:spPr>
      </p:pic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E06E8B72-1EDD-4EB8-B3F3-DCF1C4C19E9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8774" y="360000"/>
            <a:ext cx="1742401" cy="6336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CAFB094-E1FC-43CB-80B8-5C45C1A19DB8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</p:txBody>
      </p:sp>
    </p:spTree>
    <p:extLst>
      <p:ext uri="{BB962C8B-B14F-4D97-AF65-F5344CB8AC3E}">
        <p14:creationId xmlns:p14="http://schemas.microsoft.com/office/powerpoint/2010/main" val="79981843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Click to edit title of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Footer Text here if required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US" smtClean="0"/>
              <a:t>‹#›</a:t>
            </a:fld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8BCF627-9B1A-4433-BDF1-E3FAB03F3F9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61366" y="368735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94A42B3-386F-4570-AF77-B09584A4EDB3}"/>
              </a:ext>
            </a:extLst>
          </p:cNvPr>
          <p:cNvCxnSpPr>
            <a:cxnSpLocks/>
          </p:cNvCxnSpPr>
          <p:nvPr userDrawn="1"/>
        </p:nvCxnSpPr>
        <p:spPr>
          <a:xfrm flipV="1">
            <a:off x="3818275" y="3425466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0D959B6-B882-4748-BFB2-A4FB2158BE62}"/>
              </a:ext>
            </a:extLst>
          </p:cNvPr>
          <p:cNvCxnSpPr>
            <a:cxnSpLocks/>
          </p:cNvCxnSpPr>
          <p:nvPr userDrawn="1"/>
        </p:nvCxnSpPr>
        <p:spPr>
          <a:xfrm flipV="1">
            <a:off x="4575184" y="368735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4815102-2641-453E-833D-D8FB5536C9ED}"/>
              </a:ext>
            </a:extLst>
          </p:cNvPr>
          <p:cNvCxnSpPr>
            <a:cxnSpLocks/>
          </p:cNvCxnSpPr>
          <p:nvPr userDrawn="1"/>
        </p:nvCxnSpPr>
        <p:spPr>
          <a:xfrm flipV="1">
            <a:off x="5332093" y="3425466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517067F-C719-43C2-9A62-B3C3D555939F}"/>
              </a:ext>
            </a:extLst>
          </p:cNvPr>
          <p:cNvCxnSpPr>
            <a:cxnSpLocks/>
          </p:cNvCxnSpPr>
          <p:nvPr userDrawn="1"/>
        </p:nvCxnSpPr>
        <p:spPr>
          <a:xfrm flipV="1">
            <a:off x="6089002" y="368735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2760275-CA83-4E5F-8AC7-CEF35CDF3259}"/>
              </a:ext>
            </a:extLst>
          </p:cNvPr>
          <p:cNvCxnSpPr>
            <a:cxnSpLocks/>
          </p:cNvCxnSpPr>
          <p:nvPr userDrawn="1"/>
        </p:nvCxnSpPr>
        <p:spPr>
          <a:xfrm flipV="1">
            <a:off x="6845911" y="3425466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15A3289-08E1-42E1-A8E7-558A109E7B20}"/>
              </a:ext>
            </a:extLst>
          </p:cNvPr>
          <p:cNvCxnSpPr>
            <a:cxnSpLocks/>
          </p:cNvCxnSpPr>
          <p:nvPr userDrawn="1"/>
        </p:nvCxnSpPr>
        <p:spPr>
          <a:xfrm flipV="1">
            <a:off x="7602820" y="368735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F6B6689-405C-4F99-B18D-14B6FFC05438}"/>
              </a:ext>
            </a:extLst>
          </p:cNvPr>
          <p:cNvCxnSpPr>
            <a:cxnSpLocks/>
          </p:cNvCxnSpPr>
          <p:nvPr userDrawn="1"/>
        </p:nvCxnSpPr>
        <p:spPr>
          <a:xfrm flipV="1">
            <a:off x="8359729" y="3425466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D354C0A-99FA-4D65-BC96-696B65A17BD6}"/>
              </a:ext>
            </a:extLst>
          </p:cNvPr>
          <p:cNvCxnSpPr>
            <a:cxnSpLocks/>
          </p:cNvCxnSpPr>
          <p:nvPr userDrawn="1"/>
        </p:nvCxnSpPr>
        <p:spPr>
          <a:xfrm flipV="1">
            <a:off x="9116638" y="368735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012335-8D32-4874-A96B-5ECF744338FC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30456" y="368735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CCFECC2-CAF0-42FE-AB0A-86EF6A2F3F1E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2304457" y="3425466"/>
            <a:ext cx="1591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FA0EBC2-B451-4574-B391-E3AD65FEE8C2}"/>
              </a:ext>
            </a:extLst>
          </p:cNvPr>
          <p:cNvCxnSpPr>
            <a:cxnSpLocks/>
          </p:cNvCxnSpPr>
          <p:nvPr userDrawn="1"/>
        </p:nvCxnSpPr>
        <p:spPr>
          <a:xfrm flipV="1">
            <a:off x="9873547" y="3425466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41E5E33B-7E1B-4C9A-923E-05A72013E6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47548" y="2386581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70EC5FA-DF6B-4761-87C7-3BD98B4F5B43}"/>
              </a:ext>
            </a:extLst>
          </p:cNvPr>
          <p:cNvCxnSpPr>
            <a:cxnSpLocks/>
          </p:cNvCxnSpPr>
          <p:nvPr userDrawn="1"/>
        </p:nvCxnSpPr>
        <p:spPr>
          <a:xfrm>
            <a:off x="988168" y="3687355"/>
            <a:ext cx="10633076" cy="0"/>
          </a:xfrm>
          <a:prstGeom prst="line">
            <a:avLst/>
          </a:prstGeom>
          <a:ln w="50800" cap="rnd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AEBE50A6-2B6E-45D1-B02D-F21587E3A4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061366" y="2386581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618B6BC9-5474-42FF-B42C-57702244466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75184" y="2386581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C1D2A1A7-37B8-4B6A-BE55-666685973E7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89002" y="2386581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CDFFFA45-7FAD-4515-9DB2-9B963F2744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13431" y="2386581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023424D7-92EF-48CA-8D74-122054073E9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127249" y="2386581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A20F9461-9AA2-4A61-85DA-A7CC8D419DD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304457" y="3958869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26B9587E-7FD0-4462-8A18-70AD1CB183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18275" y="3958869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14A68AF4-7308-4EB8-BC50-D2B2571B8C6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332093" y="3958869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0E7A4446-B482-4936-85FD-6335C705960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45911" y="3958869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BF651D25-E3A2-4321-894C-73AE1E67BB9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70340" y="3958869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1CAD672-0E7B-4BD3-8623-0A35A7E0D4F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84158" y="3958869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9D9C7701-BC81-4209-BA62-C5AE9523BE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D68EBF29-EBBE-4B23-AA87-F8FCC060DA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C8DDA92-E15B-4D1C-8E39-40094449668B}"/>
              </a:ext>
            </a:extLst>
          </p:cNvPr>
          <p:cNvGrpSpPr/>
          <p:nvPr userDrawn="1"/>
        </p:nvGrpSpPr>
        <p:grpSpPr>
          <a:xfrm>
            <a:off x="612000" y="3180870"/>
            <a:ext cx="1014669" cy="1014669"/>
            <a:chOff x="612000" y="3051005"/>
            <a:chExt cx="1014669" cy="1014669"/>
          </a:xfrm>
          <a:solidFill>
            <a:schemeClr val="accent3"/>
          </a:solidFill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EA95000-C471-4B0C-957A-FC55132590F0}"/>
                </a:ext>
              </a:extLst>
            </p:cNvPr>
            <p:cNvSpPr/>
            <p:nvPr userDrawn="1"/>
          </p:nvSpPr>
          <p:spPr>
            <a:xfrm>
              <a:off x="612000" y="3051005"/>
              <a:ext cx="1014669" cy="101466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7C01F667-5426-4AE9-947C-DEAC1F244AC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829112" y="3285976"/>
              <a:ext cx="560750" cy="523778"/>
            </a:xfrm>
            <a:prstGeom prst="rect">
              <a:avLst/>
            </a:prstGeom>
            <a:solidFill>
              <a:schemeClr val="tx2"/>
            </a:solidFill>
          </p:spPr>
        </p:pic>
      </p:grpSp>
      <p:sp>
        <p:nvSpPr>
          <p:cNvPr id="50" name="Date Placeholder 3">
            <a:extLst>
              <a:ext uri="{FF2B5EF4-FFF2-40B4-BE49-F238E27FC236}">
                <a16:creationId xmlns:a16="http://schemas.microsoft.com/office/drawing/2014/main" id="{127DD8E0-5DA3-4385-BBF3-0AC643D49A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884458C-24E4-439F-AECA-B30E4117088F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  <a:p>
            <a:pPr algn="ctr">
              <a:lnSpc>
                <a:spcPct val="150000"/>
              </a:lnSpc>
            </a:pPr>
            <a:r>
              <a:rPr lang="en-GB" dirty="0"/>
              <a:t>Apply Layout Timeline coral</a:t>
            </a:r>
          </a:p>
        </p:txBody>
      </p:sp>
    </p:spTree>
    <p:extLst>
      <p:ext uri="{BB962C8B-B14F-4D97-AF65-F5344CB8AC3E}">
        <p14:creationId xmlns:p14="http://schemas.microsoft.com/office/powerpoint/2010/main" val="10857562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7474 -1.48148E-6 L 2.70833E-6 -1.48148E-6 " pathEditMode="relative" rAng="0" ptsTypes="AA">
                                      <p:cBhvr>
                                        <p:cTn id="9" dur="1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3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6A5FEBD4-7B70-4DAD-9FCC-176F7BBD6C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8AF5F0-9FD3-D54B-A46A-6FBD2BBC4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CAB7F84-9DFB-4370-85C9-B20F445007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0000" y="1232066"/>
            <a:ext cx="56515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/>
              <a:defRPr/>
            </a:lvl1pPr>
            <a:lvl2pPr marL="449263" indent="-180000">
              <a:buClr>
                <a:schemeClr val="tx2"/>
              </a:buClr>
              <a:defRPr/>
            </a:lvl2pPr>
            <a:lvl3pPr marL="630000">
              <a:buClr>
                <a:schemeClr val="tx2"/>
              </a:buClr>
              <a:defRPr sz="1400"/>
            </a:lvl3pPr>
          </a:lstStyle>
          <a:p>
            <a:pPr lvl="0"/>
            <a:r>
              <a:rPr lang="en-US" noProof="0" dirty="0"/>
              <a:t>First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1F94FDE5-8E44-48FD-BD23-08D4C03484F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0000" y="2242249"/>
            <a:ext cx="56515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2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Second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22DDBA6-6641-4C5A-AD54-168BC36EA6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0000" y="3252432"/>
            <a:ext cx="56515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3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Third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9E75B39-D281-40DD-A140-DD706DCDA33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0000" y="4262615"/>
            <a:ext cx="56515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4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Fourth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FD4FD174-BBF9-4459-819A-7B5112F8EA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0000" y="5272798"/>
            <a:ext cx="56515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5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Fifth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3B57FB52-2F21-4AE8-B084-C491C45ED15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20776" y="1232066"/>
            <a:ext cx="56160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6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Sixth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A19853FC-0CDB-4BB7-A510-57477AE052F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20776" y="2242249"/>
            <a:ext cx="56160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7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Seventh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1580269D-0DEE-4571-BF89-D116130C8D3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20776" y="3252432"/>
            <a:ext cx="56160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8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Eight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BAFD3037-F392-43BB-B95C-086B92CDCF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20776" y="4262615"/>
            <a:ext cx="56160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9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Ninth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DB0E9DB-0DEA-4252-B22D-D8C1611C91D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20776" y="5272798"/>
            <a:ext cx="56160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10"/>
              <a:defRPr/>
            </a:lvl1pPr>
            <a:lvl2pPr marL="450000" indent="-180000">
              <a:buFont typeface="Arial" panose="020B0604020202020204" pitchFamily="34" charset="0"/>
              <a:buChar char="•"/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Delete section title boxes not needed</a:t>
            </a:r>
          </a:p>
          <a:p>
            <a:pPr lvl="1"/>
            <a:endParaRPr lang="en-US" noProof="0" dirty="0"/>
          </a:p>
          <a:p>
            <a:pPr lvl="2"/>
            <a:endParaRPr lang="en-US" noProof="0" dirty="0"/>
          </a:p>
          <a:p>
            <a:pPr lvl="2"/>
            <a:endParaRPr lang="en-US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092C5C48-7DE3-4519-894E-3B5F040C45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59264" y="0"/>
            <a:ext cx="5648324" cy="356400"/>
          </a:xfrm>
        </p:spPr>
        <p:txBody>
          <a:bodyPr/>
          <a:lstStyle/>
          <a:p>
            <a:r>
              <a:rPr lang="en-GB" dirty="0"/>
              <a:t>Insert Footer Text here if required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541616CC-6C13-4F10-91CB-4346AB53EA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43452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3675559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Click to edit title of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Footer Text here if required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US" smtClean="0"/>
              <a:t>‹#›</a:t>
            </a:fld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8BCF627-9B1A-4433-BDF1-E3FAB03F3F9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61366" y="3686878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94A42B3-386F-4570-AF77-B09584A4EDB3}"/>
              </a:ext>
            </a:extLst>
          </p:cNvPr>
          <p:cNvCxnSpPr>
            <a:cxnSpLocks/>
          </p:cNvCxnSpPr>
          <p:nvPr userDrawn="1"/>
        </p:nvCxnSpPr>
        <p:spPr>
          <a:xfrm flipV="1">
            <a:off x="3818275" y="3424989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0D959B6-B882-4748-BFB2-A4FB2158BE62}"/>
              </a:ext>
            </a:extLst>
          </p:cNvPr>
          <p:cNvCxnSpPr>
            <a:cxnSpLocks/>
          </p:cNvCxnSpPr>
          <p:nvPr userDrawn="1"/>
        </p:nvCxnSpPr>
        <p:spPr>
          <a:xfrm flipV="1">
            <a:off x="4575184" y="3686878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4815102-2641-453E-833D-D8FB5536C9ED}"/>
              </a:ext>
            </a:extLst>
          </p:cNvPr>
          <p:cNvCxnSpPr>
            <a:cxnSpLocks/>
          </p:cNvCxnSpPr>
          <p:nvPr userDrawn="1"/>
        </p:nvCxnSpPr>
        <p:spPr>
          <a:xfrm flipV="1">
            <a:off x="5332093" y="3424989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517067F-C719-43C2-9A62-B3C3D555939F}"/>
              </a:ext>
            </a:extLst>
          </p:cNvPr>
          <p:cNvCxnSpPr>
            <a:cxnSpLocks/>
          </p:cNvCxnSpPr>
          <p:nvPr userDrawn="1"/>
        </p:nvCxnSpPr>
        <p:spPr>
          <a:xfrm flipV="1">
            <a:off x="6089002" y="3686878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2760275-CA83-4E5F-8AC7-CEF35CDF3259}"/>
              </a:ext>
            </a:extLst>
          </p:cNvPr>
          <p:cNvCxnSpPr>
            <a:cxnSpLocks/>
          </p:cNvCxnSpPr>
          <p:nvPr userDrawn="1"/>
        </p:nvCxnSpPr>
        <p:spPr>
          <a:xfrm flipV="1">
            <a:off x="6845911" y="3424989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15A3289-08E1-42E1-A8E7-558A109E7B20}"/>
              </a:ext>
            </a:extLst>
          </p:cNvPr>
          <p:cNvCxnSpPr>
            <a:cxnSpLocks/>
          </p:cNvCxnSpPr>
          <p:nvPr userDrawn="1"/>
        </p:nvCxnSpPr>
        <p:spPr>
          <a:xfrm flipV="1">
            <a:off x="7602820" y="3686878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F6B6689-405C-4F99-B18D-14B6FFC05438}"/>
              </a:ext>
            </a:extLst>
          </p:cNvPr>
          <p:cNvCxnSpPr>
            <a:cxnSpLocks/>
          </p:cNvCxnSpPr>
          <p:nvPr userDrawn="1"/>
        </p:nvCxnSpPr>
        <p:spPr>
          <a:xfrm flipV="1">
            <a:off x="8359729" y="3424989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D354C0A-99FA-4D65-BC96-696B65A17BD6}"/>
              </a:ext>
            </a:extLst>
          </p:cNvPr>
          <p:cNvCxnSpPr>
            <a:cxnSpLocks/>
          </p:cNvCxnSpPr>
          <p:nvPr userDrawn="1"/>
        </p:nvCxnSpPr>
        <p:spPr>
          <a:xfrm flipV="1">
            <a:off x="9116638" y="3686878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012335-8D32-4874-A96B-5ECF744338FC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30456" y="3686878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CCFECC2-CAF0-42FE-AB0A-86EF6A2F3F1E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2304457" y="3424989"/>
            <a:ext cx="1591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FA0EBC2-B451-4574-B391-E3AD65FEE8C2}"/>
              </a:ext>
            </a:extLst>
          </p:cNvPr>
          <p:cNvCxnSpPr>
            <a:cxnSpLocks/>
          </p:cNvCxnSpPr>
          <p:nvPr userDrawn="1"/>
        </p:nvCxnSpPr>
        <p:spPr>
          <a:xfrm flipV="1">
            <a:off x="9873547" y="3424989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41E5E33B-7E1B-4C9A-923E-05A72013E6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47548" y="2386104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70EC5FA-DF6B-4761-87C7-3BD98B4F5B43}"/>
              </a:ext>
            </a:extLst>
          </p:cNvPr>
          <p:cNvCxnSpPr>
            <a:cxnSpLocks/>
          </p:cNvCxnSpPr>
          <p:nvPr userDrawn="1"/>
        </p:nvCxnSpPr>
        <p:spPr>
          <a:xfrm>
            <a:off x="988168" y="3686878"/>
            <a:ext cx="10633076" cy="0"/>
          </a:xfrm>
          <a:prstGeom prst="line">
            <a:avLst/>
          </a:prstGeom>
          <a:ln w="50800" cap="rnd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AEBE50A6-2B6E-45D1-B02D-F21587E3A4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061366" y="2386104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618B6BC9-5474-42FF-B42C-57702244466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75184" y="2386104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C1D2A1A7-37B8-4B6A-BE55-666685973E7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89002" y="2386104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CDFFFA45-7FAD-4515-9DB2-9B963F2744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13431" y="2386104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023424D7-92EF-48CA-8D74-122054073E9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127249" y="2386104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A20F9461-9AA2-4A61-85DA-A7CC8D419DD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304457" y="3958392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26B9587E-7FD0-4462-8A18-70AD1CB183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18275" y="3958392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14A68AF4-7308-4EB8-BC50-D2B2571B8C6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332093" y="3958392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0E7A4446-B482-4936-85FD-6335C705960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45911" y="3958392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BF651D25-E3A2-4321-894C-73AE1E67BB9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70340" y="3958392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1CAD672-0E7B-4BD3-8623-0A35A7E0D4F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84158" y="3958392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7A0D7C68-A836-4D1B-811C-E75D69454E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081CC878-67CE-4AD3-87AB-A0FDEE9A70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1D16C27-605D-4E7E-AC55-4D7D5AE9D49D}"/>
              </a:ext>
            </a:extLst>
          </p:cNvPr>
          <p:cNvGrpSpPr/>
          <p:nvPr userDrawn="1"/>
        </p:nvGrpSpPr>
        <p:grpSpPr>
          <a:xfrm>
            <a:off x="612000" y="3180393"/>
            <a:ext cx="1014669" cy="1014669"/>
            <a:chOff x="612000" y="3051005"/>
            <a:chExt cx="1014669" cy="1014669"/>
          </a:xfrm>
          <a:solidFill>
            <a:srgbClr val="17B0AD"/>
          </a:solidFill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CB8CA531-635D-41E7-8C77-B91A8943ABD7}"/>
                </a:ext>
              </a:extLst>
            </p:cNvPr>
            <p:cNvSpPr/>
            <p:nvPr userDrawn="1"/>
          </p:nvSpPr>
          <p:spPr>
            <a:xfrm>
              <a:off x="612000" y="3051005"/>
              <a:ext cx="1014669" cy="101466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2B9B9050-DE0C-4FC6-9FFF-7B83CE42EB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829112" y="3285976"/>
              <a:ext cx="560750" cy="523778"/>
            </a:xfrm>
            <a:prstGeom prst="rect">
              <a:avLst/>
            </a:prstGeom>
            <a:solidFill>
              <a:srgbClr val="17B0AD"/>
            </a:solidFill>
          </p:spPr>
        </p:pic>
      </p:grpSp>
      <p:sp>
        <p:nvSpPr>
          <p:cNvPr id="50" name="Date Placeholder 3">
            <a:extLst>
              <a:ext uri="{FF2B5EF4-FFF2-40B4-BE49-F238E27FC236}">
                <a16:creationId xmlns:a16="http://schemas.microsoft.com/office/drawing/2014/main" id="{C565DD05-A32D-48EF-8E35-3AA300A553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9D6161C-7F84-46B4-9AFA-50CF33188DD8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pply Layout Timeline coral</a:t>
            </a:r>
          </a:p>
        </p:txBody>
      </p:sp>
    </p:spTree>
    <p:extLst>
      <p:ext uri="{BB962C8B-B14F-4D97-AF65-F5344CB8AC3E}">
        <p14:creationId xmlns:p14="http://schemas.microsoft.com/office/powerpoint/2010/main" val="3004673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7474 0 L 2.70833E-6 0 " pathEditMode="relative" rAng="0" ptsTypes="AA">
                                      <p:cBhvr>
                                        <p:cTn id="9" dur="1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3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Click to edit title of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Footer Text here if required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US" smtClean="0"/>
              <a:t>‹#›</a:t>
            </a:fld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8BCF627-9B1A-4433-BDF1-E3FAB03F3F9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61366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94A42B3-386F-4570-AF77-B09584A4EDB3}"/>
              </a:ext>
            </a:extLst>
          </p:cNvPr>
          <p:cNvCxnSpPr>
            <a:cxnSpLocks/>
          </p:cNvCxnSpPr>
          <p:nvPr userDrawn="1"/>
        </p:nvCxnSpPr>
        <p:spPr>
          <a:xfrm flipV="1">
            <a:off x="3818275" y="342546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0D959B6-B882-4748-BFB2-A4FB2158BE62}"/>
              </a:ext>
            </a:extLst>
          </p:cNvPr>
          <p:cNvCxnSpPr>
            <a:cxnSpLocks/>
          </p:cNvCxnSpPr>
          <p:nvPr userDrawn="1"/>
        </p:nvCxnSpPr>
        <p:spPr>
          <a:xfrm flipV="1">
            <a:off x="4575184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4815102-2641-453E-833D-D8FB5536C9ED}"/>
              </a:ext>
            </a:extLst>
          </p:cNvPr>
          <p:cNvCxnSpPr>
            <a:cxnSpLocks/>
          </p:cNvCxnSpPr>
          <p:nvPr userDrawn="1"/>
        </p:nvCxnSpPr>
        <p:spPr>
          <a:xfrm flipV="1">
            <a:off x="5332093" y="342546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517067F-C719-43C2-9A62-B3C3D555939F}"/>
              </a:ext>
            </a:extLst>
          </p:cNvPr>
          <p:cNvCxnSpPr>
            <a:cxnSpLocks/>
          </p:cNvCxnSpPr>
          <p:nvPr userDrawn="1"/>
        </p:nvCxnSpPr>
        <p:spPr>
          <a:xfrm flipV="1">
            <a:off x="6089002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2760275-CA83-4E5F-8AC7-CEF35CDF3259}"/>
              </a:ext>
            </a:extLst>
          </p:cNvPr>
          <p:cNvCxnSpPr>
            <a:cxnSpLocks/>
          </p:cNvCxnSpPr>
          <p:nvPr userDrawn="1"/>
        </p:nvCxnSpPr>
        <p:spPr>
          <a:xfrm flipV="1">
            <a:off x="6845911" y="342546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15A3289-08E1-42E1-A8E7-558A109E7B20}"/>
              </a:ext>
            </a:extLst>
          </p:cNvPr>
          <p:cNvCxnSpPr>
            <a:cxnSpLocks/>
          </p:cNvCxnSpPr>
          <p:nvPr userDrawn="1"/>
        </p:nvCxnSpPr>
        <p:spPr>
          <a:xfrm flipV="1">
            <a:off x="7602820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F6B6689-405C-4F99-B18D-14B6FFC05438}"/>
              </a:ext>
            </a:extLst>
          </p:cNvPr>
          <p:cNvCxnSpPr>
            <a:cxnSpLocks/>
          </p:cNvCxnSpPr>
          <p:nvPr userDrawn="1"/>
        </p:nvCxnSpPr>
        <p:spPr>
          <a:xfrm flipV="1">
            <a:off x="8359729" y="342546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D354C0A-99FA-4D65-BC96-696B65A17BD6}"/>
              </a:ext>
            </a:extLst>
          </p:cNvPr>
          <p:cNvCxnSpPr>
            <a:cxnSpLocks/>
          </p:cNvCxnSpPr>
          <p:nvPr userDrawn="1"/>
        </p:nvCxnSpPr>
        <p:spPr>
          <a:xfrm flipV="1">
            <a:off x="9116638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012335-8D32-4874-A96B-5ECF744338FC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30456" y="3687354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CCFECC2-CAF0-42FE-AB0A-86EF6A2F3F1E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2304457" y="3425465"/>
            <a:ext cx="1591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FA0EBC2-B451-4574-B391-E3AD65FEE8C2}"/>
              </a:ext>
            </a:extLst>
          </p:cNvPr>
          <p:cNvCxnSpPr>
            <a:cxnSpLocks/>
          </p:cNvCxnSpPr>
          <p:nvPr userDrawn="1"/>
        </p:nvCxnSpPr>
        <p:spPr>
          <a:xfrm flipV="1">
            <a:off x="9873547" y="3425465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41E5E33B-7E1B-4C9A-923E-05A72013E6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47548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70EC5FA-DF6B-4761-87C7-3BD98B4F5B43}"/>
              </a:ext>
            </a:extLst>
          </p:cNvPr>
          <p:cNvCxnSpPr>
            <a:cxnSpLocks/>
          </p:cNvCxnSpPr>
          <p:nvPr userDrawn="1"/>
        </p:nvCxnSpPr>
        <p:spPr>
          <a:xfrm>
            <a:off x="988168" y="3687354"/>
            <a:ext cx="10633076" cy="0"/>
          </a:xfrm>
          <a:prstGeom prst="line">
            <a:avLst/>
          </a:prstGeom>
          <a:ln w="50800" cap="rnd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AEBE50A6-2B6E-45D1-B02D-F21587E3A4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061366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618B6BC9-5474-42FF-B42C-57702244466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75184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C1D2A1A7-37B8-4B6A-BE55-666685973E7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89002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CDFFFA45-7FAD-4515-9DB2-9B963F2744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13431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023424D7-92EF-48CA-8D74-122054073E9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127249" y="2386580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A20F9461-9AA2-4A61-85DA-A7CC8D419DD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304457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26B9587E-7FD0-4462-8A18-70AD1CB183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18275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14A68AF4-7308-4EB8-BC50-D2B2571B8C6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332093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0E7A4446-B482-4936-85FD-6335C705960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45911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BF651D25-E3A2-4321-894C-73AE1E67BB9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70340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1CAD672-0E7B-4BD3-8623-0A35A7E0D4F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84158" y="3958868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8A084297-1068-4B99-BF9D-F3571A8FC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F3453419-06FA-4FBD-A800-0565DFBBAE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D6BD2F34-AED7-4628-ADDC-BF6E222F9EE5}"/>
              </a:ext>
            </a:extLst>
          </p:cNvPr>
          <p:cNvGrpSpPr/>
          <p:nvPr userDrawn="1"/>
        </p:nvGrpSpPr>
        <p:grpSpPr>
          <a:xfrm>
            <a:off x="612000" y="3180869"/>
            <a:ext cx="1014669" cy="1014669"/>
            <a:chOff x="612000" y="3051005"/>
            <a:chExt cx="1014669" cy="1014669"/>
          </a:xfrm>
          <a:solidFill>
            <a:srgbClr val="7DBD5F"/>
          </a:solidFill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26C1EEF0-C715-4111-BC8B-FE76952349C4}"/>
                </a:ext>
              </a:extLst>
            </p:cNvPr>
            <p:cNvSpPr/>
            <p:nvPr userDrawn="1"/>
          </p:nvSpPr>
          <p:spPr>
            <a:xfrm>
              <a:off x="612000" y="3051005"/>
              <a:ext cx="1014669" cy="101466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B3BECDAC-7BB3-4953-9B24-1D1BA39627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829112" y="3285976"/>
              <a:ext cx="560750" cy="523778"/>
            </a:xfrm>
            <a:prstGeom prst="rect">
              <a:avLst/>
            </a:prstGeom>
            <a:solidFill>
              <a:schemeClr val="tx2"/>
            </a:solidFill>
          </p:spPr>
        </p:pic>
      </p:grpSp>
      <p:sp>
        <p:nvSpPr>
          <p:cNvPr id="50" name="Date Placeholder 3">
            <a:extLst>
              <a:ext uri="{FF2B5EF4-FFF2-40B4-BE49-F238E27FC236}">
                <a16:creationId xmlns:a16="http://schemas.microsoft.com/office/drawing/2014/main" id="{363FF948-95BD-465F-B706-FB4DBEAD73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275B5DD-2F1E-4F70-8026-B240BFD2B242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pply Layout Timeline coral</a:t>
            </a:r>
          </a:p>
        </p:txBody>
      </p:sp>
    </p:spTree>
    <p:extLst>
      <p:ext uri="{BB962C8B-B14F-4D97-AF65-F5344CB8AC3E}">
        <p14:creationId xmlns:p14="http://schemas.microsoft.com/office/powerpoint/2010/main" val="2254541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7474 -1.48148E-6 L 2.70833E-6 -1.48148E-6 " pathEditMode="relative" rAng="0" ptsTypes="AA">
                                      <p:cBhvr>
                                        <p:cTn id="9" dur="1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3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Click to edit title of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Footer Text here if required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US" smtClean="0"/>
              <a:t>‹#›</a:t>
            </a:fld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8BCF627-9B1A-4433-BDF1-E3FAB03F3F9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61366" y="3685637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94A42B3-386F-4570-AF77-B09584A4EDB3}"/>
              </a:ext>
            </a:extLst>
          </p:cNvPr>
          <p:cNvCxnSpPr>
            <a:cxnSpLocks/>
          </p:cNvCxnSpPr>
          <p:nvPr userDrawn="1"/>
        </p:nvCxnSpPr>
        <p:spPr>
          <a:xfrm flipV="1">
            <a:off x="3818275" y="3423748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0D959B6-B882-4748-BFB2-A4FB2158BE62}"/>
              </a:ext>
            </a:extLst>
          </p:cNvPr>
          <p:cNvCxnSpPr>
            <a:cxnSpLocks/>
          </p:cNvCxnSpPr>
          <p:nvPr userDrawn="1"/>
        </p:nvCxnSpPr>
        <p:spPr>
          <a:xfrm flipV="1">
            <a:off x="4575184" y="3685637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4815102-2641-453E-833D-D8FB5536C9ED}"/>
              </a:ext>
            </a:extLst>
          </p:cNvPr>
          <p:cNvCxnSpPr>
            <a:cxnSpLocks/>
          </p:cNvCxnSpPr>
          <p:nvPr userDrawn="1"/>
        </p:nvCxnSpPr>
        <p:spPr>
          <a:xfrm flipV="1">
            <a:off x="5332093" y="3423748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517067F-C719-43C2-9A62-B3C3D555939F}"/>
              </a:ext>
            </a:extLst>
          </p:cNvPr>
          <p:cNvCxnSpPr>
            <a:cxnSpLocks/>
          </p:cNvCxnSpPr>
          <p:nvPr userDrawn="1"/>
        </p:nvCxnSpPr>
        <p:spPr>
          <a:xfrm flipV="1">
            <a:off x="6089002" y="3685637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2760275-CA83-4E5F-8AC7-CEF35CDF3259}"/>
              </a:ext>
            </a:extLst>
          </p:cNvPr>
          <p:cNvCxnSpPr>
            <a:cxnSpLocks/>
          </p:cNvCxnSpPr>
          <p:nvPr userDrawn="1"/>
        </p:nvCxnSpPr>
        <p:spPr>
          <a:xfrm flipV="1">
            <a:off x="6845911" y="3423748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15A3289-08E1-42E1-A8E7-558A109E7B20}"/>
              </a:ext>
            </a:extLst>
          </p:cNvPr>
          <p:cNvCxnSpPr>
            <a:cxnSpLocks/>
          </p:cNvCxnSpPr>
          <p:nvPr userDrawn="1"/>
        </p:nvCxnSpPr>
        <p:spPr>
          <a:xfrm flipV="1">
            <a:off x="7602820" y="3685637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F6B6689-405C-4F99-B18D-14B6FFC05438}"/>
              </a:ext>
            </a:extLst>
          </p:cNvPr>
          <p:cNvCxnSpPr>
            <a:cxnSpLocks/>
          </p:cNvCxnSpPr>
          <p:nvPr userDrawn="1"/>
        </p:nvCxnSpPr>
        <p:spPr>
          <a:xfrm flipV="1">
            <a:off x="8359729" y="3423748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D354C0A-99FA-4D65-BC96-696B65A17BD6}"/>
              </a:ext>
            </a:extLst>
          </p:cNvPr>
          <p:cNvCxnSpPr>
            <a:cxnSpLocks/>
          </p:cNvCxnSpPr>
          <p:nvPr userDrawn="1"/>
        </p:nvCxnSpPr>
        <p:spPr>
          <a:xfrm flipV="1">
            <a:off x="9116638" y="3685637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012335-8D32-4874-A96B-5ECF744338FC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30456" y="3685637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CCFECC2-CAF0-42FE-AB0A-86EF6A2F3F1E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2304457" y="3423748"/>
            <a:ext cx="1591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FA0EBC2-B451-4574-B391-E3AD65FEE8C2}"/>
              </a:ext>
            </a:extLst>
          </p:cNvPr>
          <p:cNvCxnSpPr>
            <a:cxnSpLocks/>
          </p:cNvCxnSpPr>
          <p:nvPr userDrawn="1"/>
        </p:nvCxnSpPr>
        <p:spPr>
          <a:xfrm flipV="1">
            <a:off x="9873547" y="3423748"/>
            <a:ext cx="0" cy="2618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41E5E33B-7E1B-4C9A-923E-05A72013E6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47548" y="2384863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70EC5FA-DF6B-4761-87C7-3BD98B4F5B43}"/>
              </a:ext>
            </a:extLst>
          </p:cNvPr>
          <p:cNvCxnSpPr>
            <a:cxnSpLocks/>
          </p:cNvCxnSpPr>
          <p:nvPr userDrawn="1"/>
        </p:nvCxnSpPr>
        <p:spPr>
          <a:xfrm>
            <a:off x="988168" y="3685637"/>
            <a:ext cx="10633076" cy="0"/>
          </a:xfrm>
          <a:prstGeom prst="line">
            <a:avLst/>
          </a:prstGeom>
          <a:ln w="50800" cap="rnd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AEBE50A6-2B6E-45D1-B02D-F21587E3A4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061366" y="2384863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618B6BC9-5474-42FF-B42C-57702244466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75184" y="2384863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C1D2A1A7-37B8-4B6A-BE55-666685973E7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89002" y="2384863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CDFFFA45-7FAD-4515-9DB2-9B963F2744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13431" y="2384863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023424D7-92EF-48CA-8D74-122054073E9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127249" y="2384863"/>
            <a:ext cx="1513818" cy="1020675"/>
          </a:xfrm>
        </p:spPr>
        <p:txBody>
          <a:bodyPr lIns="90000" rIns="9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A20F9461-9AA2-4A61-85DA-A7CC8D419DD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304457" y="3957151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26B9587E-7FD0-4462-8A18-70AD1CB183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18275" y="3957151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14A68AF4-7308-4EB8-BC50-D2B2571B8C6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332093" y="3957151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0E7A4446-B482-4936-85FD-6335C705960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45911" y="3957151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BF651D25-E3A2-4321-894C-73AE1E67BB9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70340" y="3957151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1CAD672-0E7B-4BD3-8623-0A35A7E0D4F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84158" y="3957151"/>
            <a:ext cx="1513818" cy="1020675"/>
          </a:xfrm>
        </p:spPr>
        <p:txBody>
          <a:bodyPr lIns="90000" rIns="9000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269875" indent="0">
              <a:buNone/>
              <a:defRPr/>
            </a:lvl2pPr>
            <a:lvl3pPr marL="492125" indent="0">
              <a:buNone/>
              <a:defRPr/>
            </a:lvl3pPr>
            <a:lvl4pPr marL="714375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1D4B3150-818A-43FD-B152-10520CC91E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AD4EF8B6-12D3-4B55-9E67-E0A48B0967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AAFC9B9-8AD1-41A7-A84A-AB869EE3F0D8}"/>
              </a:ext>
            </a:extLst>
          </p:cNvPr>
          <p:cNvGrpSpPr/>
          <p:nvPr userDrawn="1"/>
        </p:nvGrpSpPr>
        <p:grpSpPr>
          <a:xfrm>
            <a:off x="612000" y="3179152"/>
            <a:ext cx="1014669" cy="1014669"/>
            <a:chOff x="612000" y="3051005"/>
            <a:chExt cx="1014669" cy="1014669"/>
          </a:xfrm>
          <a:solidFill>
            <a:schemeClr val="tx1"/>
          </a:solidFill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E66FFDD3-BF62-4475-9A2E-C1B58B33E82F}"/>
                </a:ext>
              </a:extLst>
            </p:cNvPr>
            <p:cNvSpPr/>
            <p:nvPr userDrawn="1"/>
          </p:nvSpPr>
          <p:spPr>
            <a:xfrm>
              <a:off x="612000" y="3051005"/>
              <a:ext cx="1014669" cy="1014669"/>
            </a:xfrm>
            <a:prstGeom prst="ellipse">
              <a:avLst/>
            </a:prstGeom>
            <a:solidFill>
              <a:srgbClr val="055A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13626EF2-66DE-44B9-8152-9AE9AE8DA0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829112" y="3285976"/>
              <a:ext cx="560750" cy="523778"/>
            </a:xfrm>
            <a:prstGeom prst="rect">
              <a:avLst/>
            </a:prstGeom>
            <a:solidFill>
              <a:srgbClr val="055A60"/>
            </a:solidFill>
          </p:spPr>
        </p:pic>
      </p:grpSp>
      <p:sp>
        <p:nvSpPr>
          <p:cNvPr id="50" name="Date Placeholder 3">
            <a:extLst>
              <a:ext uri="{FF2B5EF4-FFF2-40B4-BE49-F238E27FC236}">
                <a16:creationId xmlns:a16="http://schemas.microsoft.com/office/drawing/2014/main" id="{D5F6A621-5CEE-484F-B6C2-C4F84A3AFA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A2DE57E-997A-4136-905D-B7FC0BC5E442}"/>
              </a:ext>
            </a:extLst>
          </p:cNvPr>
          <p:cNvSpPr/>
          <p:nvPr userDrawn="1"/>
        </p:nvSpPr>
        <p:spPr>
          <a:xfrm>
            <a:off x="357188" y="354768"/>
            <a:ext cx="3027992" cy="1266402"/>
          </a:xfrm>
          <a:prstGeom prst="rect">
            <a:avLst/>
          </a:prstGeom>
          <a:solidFill>
            <a:srgbClr val="74D0CE"/>
          </a:solidFill>
          <a:ln w="12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GB" dirty="0"/>
              <a:t>Legacy Format Only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pply Layout Timeline coral</a:t>
            </a:r>
          </a:p>
        </p:txBody>
      </p:sp>
    </p:spTree>
    <p:extLst>
      <p:ext uri="{BB962C8B-B14F-4D97-AF65-F5344CB8AC3E}">
        <p14:creationId xmlns:p14="http://schemas.microsoft.com/office/powerpoint/2010/main" val="2712198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7474 0 L 2.70833E-6 0 " pathEditMode="relative" rAng="0" ptsTypes="AA">
                                      <p:cBhvr>
                                        <p:cTn id="9" dur="1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3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eal">
    <p:bg>
      <p:bgPr>
        <a:solidFill>
          <a:srgbClr val="055A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9A3BDBFC-35BF-C640-A95A-DBE6DEE579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4400" y="4227680"/>
            <a:ext cx="5919537" cy="438582"/>
          </a:xfrm>
        </p:spPr>
        <p:txBody>
          <a:bodyPr wrap="square">
            <a:spAutoFit/>
          </a:bodyPr>
          <a:lstStyle>
            <a:lvl1pPr marL="0" indent="0" algn="l"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Click to edit presentation subtitl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71540E4-5E43-3445-9361-342BABDD7B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0" y="2508350"/>
            <a:ext cx="5919537" cy="1590307"/>
          </a:xfrm>
        </p:spPr>
        <p:txBody>
          <a:bodyPr>
            <a:spAutoFit/>
          </a:bodyPr>
          <a:lstStyle>
            <a:lvl1pPr>
              <a:lnSpc>
                <a:spcPts val="5700"/>
              </a:lnSpc>
              <a:defRPr sz="5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noProof="0" dirty="0"/>
              <a:t>Click to edit presentation tit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CF3CF69-76EA-4060-BE07-7A302777A3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5878800"/>
            <a:ext cx="9731738" cy="417600"/>
          </a:xfrm>
        </p:spPr>
        <p:txBody>
          <a:bodyPr tIns="0" rIns="0" bIns="0" anchor="b" anchorCtr="0"/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For Investment Professionals only (14pt Calibri Bold in Teal or White – Multiple 0.9 line spacing with 10 point space before)</a:t>
            </a:r>
          </a:p>
        </p:txBody>
      </p:sp>
      <p:pic>
        <p:nvPicPr>
          <p:cNvPr id="6" name="Picture 5" hidden="1">
            <a:extLst>
              <a:ext uri="{FF2B5EF4-FFF2-40B4-BE49-F238E27FC236}">
                <a16:creationId xmlns:a16="http://schemas.microsoft.com/office/drawing/2014/main" id="{D9DBA4B8-E640-4DF4-8BBD-874ADA652B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801622" y="2602800"/>
            <a:ext cx="2357096" cy="1211960"/>
          </a:xfrm>
          <a:prstGeom prst="rect">
            <a:avLst/>
          </a:prstGeom>
        </p:spPr>
      </p:pic>
      <p:pic>
        <p:nvPicPr>
          <p:cNvPr id="15" name="Graphic 14" hidden="1">
            <a:extLst>
              <a:ext uri="{FF2B5EF4-FFF2-40B4-BE49-F238E27FC236}">
                <a16:creationId xmlns:a16="http://schemas.microsoft.com/office/drawing/2014/main" id="{88B8684B-14A5-4142-AB81-86C09E18199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0250" y="2611354"/>
            <a:ext cx="3560400" cy="1294691"/>
          </a:xfrm>
          <a:prstGeom prst="rect">
            <a:avLst/>
          </a:prstGeom>
        </p:spPr>
      </p:pic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1129525-E91D-485C-8ECF-49A4B00278E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8618" y="2691606"/>
            <a:ext cx="1742401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5027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2">
          <p15:clr>
            <a:srgbClr val="FBAE40"/>
          </p15:clr>
        </p15:guide>
        <p15:guide id="2" orient="horz" pos="232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771EFA7-9B62-42EA-A84D-02E374C79F3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DE0E3"/>
          </a:solidFill>
        </p:spPr>
        <p:txBody>
          <a:bodyPr/>
          <a:lstStyle>
            <a:lvl1pPr marL="180000" indent="0">
              <a:lnSpc>
                <a:spcPct val="12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ING A PHOTOGRAPH INTO THE BACKGROUND</a:t>
            </a:r>
            <a:br>
              <a:rPr lang="en-GB" dirty="0"/>
            </a:br>
            <a:r>
              <a:rPr lang="en-GB" dirty="0"/>
              <a:t>Right click on the edge of the grey area to select the picture placeholder. </a:t>
            </a:r>
            <a:br>
              <a:rPr lang="en-GB" dirty="0"/>
            </a:br>
            <a:r>
              <a:rPr lang="en-GB" dirty="0"/>
              <a:t>A drop down dialogue will appear. Select BRING TO FRONT. </a:t>
            </a:r>
            <a:br>
              <a:rPr lang="en-GB" dirty="0"/>
            </a:br>
            <a:r>
              <a:rPr lang="en-GB" dirty="0"/>
              <a:t>Click on the picture Icon in the middle of the screen to browse your PC to select a picture to insert. </a:t>
            </a:r>
            <a:br>
              <a:rPr lang="en-GB" dirty="0"/>
            </a:br>
            <a:r>
              <a:rPr lang="en-GB" dirty="0"/>
              <a:t>Double click on the file want you to insert and then right click on the edge of the picture and select SEND TO BACK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3BDBFC-35BF-C640-A95A-DBE6DEE579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4400" y="4227680"/>
            <a:ext cx="5919537" cy="438582"/>
          </a:xfrm>
        </p:spPr>
        <p:txBody>
          <a:bodyPr wrap="square">
            <a:spAutoFit/>
          </a:bodyPr>
          <a:lstStyle>
            <a:lvl1pPr marL="0" indent="0" algn="l"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Click to edit presentation subtitl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71540E4-5E43-3445-9361-342BABDD7B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508350"/>
            <a:ext cx="5919537" cy="1590307"/>
          </a:xfrm>
        </p:spPr>
        <p:txBody>
          <a:bodyPr>
            <a:spAutoFit/>
          </a:bodyPr>
          <a:lstStyle>
            <a:lvl1pPr>
              <a:lnSpc>
                <a:spcPts val="5700"/>
              </a:lnSpc>
              <a:defRPr sz="5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noProof="0" dirty="0"/>
              <a:t>Click to edit presentation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96FF436-51E0-48AC-9FD5-ECEF1B975B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5878800"/>
            <a:ext cx="7610475" cy="417600"/>
          </a:xfrm>
        </p:spPr>
        <p:txBody>
          <a:bodyPr tIns="0" rIns="0" bIns="0" anchor="b" anchorCtr="0"/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For Investment Professionals only (14pt Calibri Bold in Teal or White – Multiple 0.9 line spacing with 10 point space before)</a:t>
            </a:r>
          </a:p>
        </p:txBody>
      </p:sp>
    </p:spTree>
    <p:extLst>
      <p:ext uri="{BB962C8B-B14F-4D97-AF65-F5344CB8AC3E}">
        <p14:creationId xmlns:p14="http://schemas.microsoft.com/office/powerpoint/2010/main" val="150518958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grey">
    <p:bg>
      <p:bgPr>
        <a:solidFill>
          <a:srgbClr val="5B65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439369"/>
            <a:ext cx="9031286" cy="902555"/>
          </a:xfrm>
        </p:spPr>
        <p:txBody>
          <a:bodyPr wrap="square" anchor="b" anchorCtr="0">
            <a:spAutoFit/>
          </a:bodyPr>
          <a:lstStyle>
            <a:lvl1pPr>
              <a:defRPr sz="585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Divider page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34401" y="3375369"/>
            <a:ext cx="9031286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Use for subheading (or delete)</a:t>
            </a:r>
          </a:p>
        </p:txBody>
      </p:sp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C751E150-D939-4154-9CF1-45F6484F30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8586" y="2871788"/>
            <a:ext cx="1200693" cy="617065"/>
          </a:xfrm>
          <a:prstGeom prst="rect">
            <a:avLst/>
          </a:prstGeom>
        </p:spPr>
      </p:pic>
      <p:pic>
        <p:nvPicPr>
          <p:cNvPr id="6" name="Graphic 5" hidden="1">
            <a:extLst>
              <a:ext uri="{FF2B5EF4-FFF2-40B4-BE49-F238E27FC236}">
                <a16:creationId xmlns:a16="http://schemas.microsoft.com/office/drawing/2014/main" id="{2FE5E2CB-FDAD-4416-9517-DA3DD1BFAA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9912" y="2874963"/>
            <a:ext cx="1742400" cy="633600"/>
          </a:xfrm>
          <a:prstGeom prst="rect">
            <a:avLst/>
          </a:prstGeom>
        </p:spPr>
      </p:pic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F63CCF06-CA42-4E83-8492-787C2B6727C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9912" y="2691608"/>
            <a:ext cx="1742401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731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9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teal">
    <p:bg>
      <p:bgPr>
        <a:solidFill>
          <a:srgbClr val="7EBD5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401" y="2439369"/>
            <a:ext cx="9031286" cy="902555"/>
          </a:xfrm>
        </p:spPr>
        <p:txBody>
          <a:bodyPr wrap="square" anchor="b" anchorCtr="0">
            <a:spAutoFit/>
          </a:bodyPr>
          <a:lstStyle>
            <a:lvl1pPr>
              <a:defRPr sz="585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Divider page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34401" y="3375369"/>
            <a:ext cx="9031286" cy="397032"/>
          </a:xfrm>
        </p:spPr>
        <p:txBody>
          <a:bodyPr wrap="square">
            <a:sp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Use for subheading (or delete)</a:t>
            </a:r>
          </a:p>
        </p:txBody>
      </p:sp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9B16320C-1477-424C-B532-D8697D6C86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8586" y="2871788"/>
            <a:ext cx="1200693" cy="617065"/>
          </a:xfrm>
          <a:prstGeom prst="rect">
            <a:avLst/>
          </a:prstGeom>
        </p:spPr>
      </p:pic>
      <p:pic>
        <p:nvPicPr>
          <p:cNvPr id="6" name="Graphic 5" hidden="1">
            <a:extLst>
              <a:ext uri="{FF2B5EF4-FFF2-40B4-BE49-F238E27FC236}">
                <a16:creationId xmlns:a16="http://schemas.microsoft.com/office/drawing/2014/main" id="{148156D7-8D31-4B39-BD43-79E09F9F65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7188" y="2874963"/>
            <a:ext cx="1742400" cy="633600"/>
          </a:xfrm>
          <a:prstGeom prst="rect">
            <a:avLst/>
          </a:prstGeom>
        </p:spPr>
      </p:pic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02A11F8F-8F67-4AFF-8C3C-4DC79B49B08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9912" y="2691608"/>
            <a:ext cx="1742401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03517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3DF094A5-5AB8-4691-B577-0086A42A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rgbClr val="DDE0E3"/>
          </a:solidFill>
        </p:spPr>
        <p:txBody>
          <a:bodyPr/>
          <a:lstStyle>
            <a:lvl1pPr marL="180000" indent="0">
              <a:lnSpc>
                <a:spcPct val="120000"/>
              </a:lnSpc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ING A PHOTOGRAPH INTO THE BACKGROUND</a:t>
            </a:r>
            <a:br>
              <a:rPr lang="en-GB" dirty="0"/>
            </a:br>
            <a:r>
              <a:rPr lang="en-GB" dirty="0"/>
              <a:t>Right click on the edge of the grey area to select the picture placeholder. </a:t>
            </a:r>
            <a:br>
              <a:rPr lang="en-GB" dirty="0"/>
            </a:br>
            <a:r>
              <a:rPr lang="en-GB" dirty="0"/>
              <a:t>A drop down dialogue will appear. Select BRING TO FRONT. </a:t>
            </a:r>
            <a:br>
              <a:rPr lang="en-GB" dirty="0"/>
            </a:br>
            <a:r>
              <a:rPr lang="en-GB" dirty="0"/>
              <a:t>Click on the picture Icon in the middle of the screen to browse your PC to select a picture to insert. </a:t>
            </a:r>
            <a:br>
              <a:rPr lang="en-GB" dirty="0"/>
            </a:br>
            <a:r>
              <a:rPr lang="en-GB" dirty="0"/>
              <a:t>Double click on the file you want to insert and then right click on the edge of the picture and select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6301" y="2736000"/>
            <a:ext cx="9031287" cy="729000"/>
          </a:xfrm>
        </p:spPr>
        <p:txBody>
          <a:bodyPr wrap="square" anchor="t">
            <a:sp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Picture placement slide message</a:t>
            </a:r>
          </a:p>
        </p:txBody>
      </p:sp>
    </p:spTree>
    <p:extLst>
      <p:ext uri="{BB962C8B-B14F-4D97-AF65-F5344CB8AC3E}">
        <p14:creationId xmlns:p14="http://schemas.microsoft.com/office/powerpoint/2010/main" val="293448831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RE">
    <p:bg>
      <p:bgPr>
        <a:solidFill>
          <a:srgbClr val="055A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70" y="1228725"/>
            <a:ext cx="6480000" cy="1118630"/>
          </a:xfrm>
        </p:spPr>
        <p:txBody>
          <a:bodyPr wrap="square" anchor="b" anchorCtr="0">
            <a:noAutofit/>
          </a:bodyPr>
          <a:lstStyle>
            <a:lvl1pPr>
              <a:defRPr sz="585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Divider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9570" y="2380800"/>
            <a:ext cx="6480000" cy="4247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Divider subheading (or delete)</a:t>
            </a:r>
          </a:p>
        </p:txBody>
      </p:sp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C751E150-D939-4154-9CF1-45F6484F30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9569" y="548986"/>
            <a:ext cx="1200693" cy="617065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CF0D1BB-6C13-4620-BC6E-65E8787A0B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01951" y="0"/>
            <a:ext cx="4990049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ACDEA84-F2FE-497C-884C-5127148EC6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0362" y="2876550"/>
            <a:ext cx="6479207" cy="32670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9B29770-3E63-463E-9F05-A4DBE49A1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6600825"/>
            <a:ext cx="6478587" cy="150813"/>
          </a:xfrm>
        </p:spPr>
        <p:txBody>
          <a:bodyPr tIns="0" rIns="0" bIns="0" anchor="b" anchorCtr="0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tabLst/>
              <a:defRPr lang="en-US" sz="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180000" lvl="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tabLst/>
            </a:pPr>
            <a:r>
              <a:rPr lang="en-US" dirty="0"/>
              <a:t>Enter source here</a:t>
            </a:r>
          </a:p>
        </p:txBody>
      </p:sp>
      <p:pic>
        <p:nvPicPr>
          <p:cNvPr id="8" name="Graphic 7" hidden="1">
            <a:extLst>
              <a:ext uri="{FF2B5EF4-FFF2-40B4-BE49-F238E27FC236}">
                <a16:creationId xmlns:a16="http://schemas.microsoft.com/office/drawing/2014/main" id="{88EF5AF4-6F35-44E5-8C78-E1FE4D7A284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775" y="555674"/>
            <a:ext cx="1692901" cy="615600"/>
          </a:xfrm>
          <a:prstGeom prst="rect">
            <a:avLst/>
          </a:prstGeom>
        </p:spPr>
      </p:pic>
      <p:pic>
        <p:nvPicPr>
          <p:cNvPr id="13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CF80FB8B-7C2D-4B13-88DC-42AE96A9554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8774" y="360000"/>
            <a:ext cx="1742401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145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1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RE">
    <p:bg>
      <p:bgPr>
        <a:solidFill>
          <a:srgbClr val="7EBD5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18C04-E983-024A-9293-5231BEAE1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70" y="1228725"/>
            <a:ext cx="6480000" cy="1118630"/>
          </a:xfrm>
        </p:spPr>
        <p:txBody>
          <a:bodyPr wrap="square" anchor="b" anchorCtr="0">
            <a:noAutofit/>
          </a:bodyPr>
          <a:lstStyle>
            <a:lvl1pPr>
              <a:defRPr lang="en-GB" sz="5850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Divider 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5F2E4-AC1B-7643-AB96-1C39DC2994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9570" y="2380800"/>
            <a:ext cx="6480000" cy="4247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Divider subheading (or delete)</a:t>
            </a:r>
          </a:p>
        </p:txBody>
      </p:sp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C751E150-D939-4154-9CF1-45F6484F30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9569" y="548986"/>
            <a:ext cx="1200693" cy="617065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CF0D1BB-6C13-4620-BC6E-65E8787A0B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01951" y="0"/>
            <a:ext cx="4990049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ACDEA84-F2FE-497C-884C-5127148EC6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0362" y="2876550"/>
            <a:ext cx="6479207" cy="32670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9B29770-3E63-463E-9F05-A4DBE49A1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6600825"/>
            <a:ext cx="6478587" cy="150813"/>
          </a:xfrm>
        </p:spPr>
        <p:txBody>
          <a:bodyPr tIns="0" rIns="0" bIns="0" anchor="b" anchorCtr="0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tabLst/>
              <a:defRPr lang="en-US" sz="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180000" lvl="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tabLst/>
            </a:pPr>
            <a:r>
              <a:rPr lang="en-US" dirty="0"/>
              <a:t>Enter source here</a:t>
            </a:r>
          </a:p>
        </p:txBody>
      </p:sp>
      <p:pic>
        <p:nvPicPr>
          <p:cNvPr id="8" name="Graphic 7" hidden="1">
            <a:extLst>
              <a:ext uri="{FF2B5EF4-FFF2-40B4-BE49-F238E27FC236}">
                <a16:creationId xmlns:a16="http://schemas.microsoft.com/office/drawing/2014/main" id="{F0CD49A7-7300-47F1-8C9C-8BA8481C9C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775" y="555674"/>
            <a:ext cx="1692901" cy="6156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21DC8C17-58B4-4BA9-9790-AFF832B1EC8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8774" y="360000"/>
            <a:ext cx="1742401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9146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529252-766F-3141-B54F-24406F7A9B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title of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52310A-30EB-B54A-B6E7-17AD665FB2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001" y="1231200"/>
            <a:ext cx="11471638" cy="4912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70DCC4-1401-574B-A0FD-9B3028D63F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Footer Text here if required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8AF5F0-9FD3-D54B-A46A-6FBD2BBC4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F246A1A-A3F3-4A2C-8663-8A4F81DCB0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4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674AF5F-D827-433F-B409-7EAB5EA9E11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903"/>
            <a:ext cx="9547225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1397A151-7FEF-448A-8A36-83583A4E7E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44384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6A5FEBD4-7B70-4DAD-9FCC-176F7BBD6C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8AF5F0-9FD3-D54B-A46A-6FBD2BBC4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CAB7F84-9DFB-4370-85C9-B20F445007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0000" y="1232066"/>
            <a:ext cx="56515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/>
              <a:defRPr/>
            </a:lvl1pPr>
            <a:lvl2pPr marL="449263" indent="-180000">
              <a:buClr>
                <a:schemeClr val="tx2"/>
              </a:buClr>
              <a:defRPr/>
            </a:lvl2pPr>
            <a:lvl3pPr marL="630000">
              <a:buClr>
                <a:schemeClr val="tx2"/>
              </a:buClr>
              <a:defRPr sz="1400"/>
            </a:lvl3pPr>
          </a:lstStyle>
          <a:p>
            <a:pPr lvl="0"/>
            <a:r>
              <a:rPr lang="en-US" noProof="0" dirty="0"/>
              <a:t>First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1F94FDE5-8E44-48FD-BD23-08D4C03484F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0000" y="2242249"/>
            <a:ext cx="56515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2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Second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22DDBA6-6641-4C5A-AD54-168BC36EA6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0000" y="3252432"/>
            <a:ext cx="56515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3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Third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9E75B39-D281-40DD-A140-DD706DCDA33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0000" y="4262615"/>
            <a:ext cx="56515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4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Fourth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FD4FD174-BBF9-4459-819A-7B5112F8EA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0000" y="5272798"/>
            <a:ext cx="56515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5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Fifth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3B57FB52-2F21-4AE8-B084-C491C45ED15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20776" y="1232066"/>
            <a:ext cx="56160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6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Sixth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A19853FC-0CDB-4BB7-A510-57477AE052F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20776" y="2242249"/>
            <a:ext cx="56160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7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Seventh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1580269D-0DEE-4571-BF89-D116130C8D3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20776" y="3252432"/>
            <a:ext cx="56160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8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Eight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BAFD3037-F392-43BB-B95C-086B92CDCF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20776" y="4262615"/>
            <a:ext cx="56160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9"/>
              <a:defRPr/>
            </a:lvl1pPr>
            <a:lvl2pPr marL="450000"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Ninth item</a:t>
            </a:r>
          </a:p>
          <a:p>
            <a:pPr lvl="1"/>
            <a:endParaRPr lang="en-GB" noProof="0" dirty="0"/>
          </a:p>
          <a:p>
            <a:pPr lvl="2"/>
            <a:endParaRPr lang="en-GB" noProof="0" dirty="0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DB0E9DB-0DEA-4252-B22D-D8C1611C91D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20776" y="5272798"/>
            <a:ext cx="5616000" cy="871200"/>
          </a:xfrm>
        </p:spPr>
        <p:txBody>
          <a:bodyPr/>
          <a:lstStyle>
            <a:lvl1pPr marL="269875" indent="-269875">
              <a:buClr>
                <a:schemeClr val="tx2"/>
              </a:buClr>
              <a:buFont typeface="+mj-lt"/>
              <a:buAutoNum type="arabicPeriod" startAt="10"/>
              <a:defRPr/>
            </a:lvl1pPr>
            <a:lvl2pPr marL="450000" indent="-180000">
              <a:buFont typeface="Arial" panose="020B0604020202020204" pitchFamily="34" charset="0"/>
              <a:buChar char="•"/>
              <a:defRPr/>
            </a:lvl2pPr>
            <a:lvl3pPr marL="630000">
              <a:defRPr sz="1400"/>
            </a:lvl3pPr>
          </a:lstStyle>
          <a:p>
            <a:pPr lvl="0"/>
            <a:r>
              <a:rPr lang="en-US" noProof="0" dirty="0"/>
              <a:t>Delete section title boxes not needed</a:t>
            </a:r>
          </a:p>
          <a:p>
            <a:pPr lvl="1"/>
            <a:endParaRPr lang="en-US" noProof="0" dirty="0"/>
          </a:p>
          <a:p>
            <a:pPr lvl="2"/>
            <a:endParaRPr lang="en-US" noProof="0" dirty="0"/>
          </a:p>
          <a:p>
            <a:pPr lvl="2"/>
            <a:endParaRPr lang="en-US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092C5C48-7DE3-4519-894E-3B5F040C45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59264" y="0"/>
            <a:ext cx="5648324" cy="356400"/>
          </a:xfrm>
        </p:spPr>
        <p:txBody>
          <a:bodyPr/>
          <a:lstStyle/>
          <a:p>
            <a:r>
              <a:rPr lang="en-GB" dirty="0"/>
              <a:t>Insert Footer Text here if required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541616CC-6C13-4F10-91CB-4346AB53EA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43452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17360144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529252-766F-3141-B54F-24406F7A9B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title of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52310A-30EB-B54A-B6E7-17AD665FB2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001" y="1231200"/>
            <a:ext cx="11471638" cy="4912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70DCC4-1401-574B-A0FD-9B3028D63F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Footer Text here if required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8AF5F0-9FD3-D54B-A46A-6FBD2BBC4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F246A1A-A3F3-4A2C-8663-8A4F81DCB0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4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674AF5F-D827-433F-B409-7EAB5EA9E11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903"/>
            <a:ext cx="9547225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1397A151-7FEF-448A-8A36-83583A4E7E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08243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52310A-30EB-B54A-B6E7-17AD665FB2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001" y="525102"/>
            <a:ext cx="11471638" cy="5618524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1000"/>
              </a:spcBef>
              <a:buNone/>
              <a:defRPr sz="1200">
                <a:solidFill>
                  <a:schemeClr val="tx1"/>
                </a:solidFill>
              </a:defRPr>
            </a:lvl2pPr>
            <a:lvl3pPr marL="0">
              <a:defRPr sz="1000">
                <a:solidFill>
                  <a:schemeClr val="tx1"/>
                </a:solidFill>
              </a:defRPr>
            </a:lvl3pPr>
            <a:lvl4pPr marL="360000" indent="-180975">
              <a:defRPr>
                <a:solidFill>
                  <a:schemeClr val="tx1"/>
                </a:solidFill>
              </a:defRPr>
            </a:lvl4pPr>
            <a:lvl5pPr marL="540000" indent="-180000">
              <a:spcBef>
                <a:spcPts val="70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70DCC4-1401-574B-A0FD-9B3028D63F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Footer Text here if required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8AF5F0-9FD3-D54B-A46A-6FBD2BBC4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674AF5F-D827-433F-B409-7EAB5EA9E11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903"/>
            <a:ext cx="9547225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1397A151-7FEF-448A-8A36-83583A4E7E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51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529252-766F-3141-B54F-24406F7A9B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itle of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52310A-30EB-B54A-B6E7-17AD665FB2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001" y="1734085"/>
            <a:ext cx="11471638" cy="44095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70DCC4-1401-574B-A0FD-9B3028D63F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/>
              <a:t>Insert Footer Text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8AF5F0-9FD3-D54B-A46A-6FBD2BBC4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485F0C-262B-514B-A388-FC971EB0CB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230085"/>
            <a:ext cx="11471638" cy="432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AD6D496-D859-48A2-BC86-85DD118ABB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B64B5A8-9F79-4E49-9A2A-2AF63B9C2B2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5577FC4-C070-4864-B364-59B300F8CC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46252240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703581-EE46-1C46-AC79-09987CF3C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/>
          <a:p>
            <a:r>
              <a:rPr lang="en-GB" noProof="0" dirty="0"/>
              <a:t>Click to edit title of slid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3DE0C0-F9F3-3B4C-BD99-DC2773D3E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E03CC1-BAA6-3043-98F9-B41F6C0F18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250499D5-5F8E-4410-A828-2D55B24074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8161D5D-AA44-4886-A159-A80E62CE45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45F15C5-5A06-46AB-8DF3-3F11B73E255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657355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E3917C-4B39-7348-B973-99D3A6300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87628C-A5EC-7641-A2EA-D8704F5744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D9B23F0-59FF-4F69-A030-CB1B83FF33F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48BA4119-5323-4E1F-A9A7-A1FAA1CBB7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42978617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3200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 noProof="0" dirty="0"/>
              <a:t>Click to edit title of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D7B397-8663-3A48-AD9C-349EE7D16D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0001" y="1231199"/>
            <a:ext cx="5648688" cy="49124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BBD698-77A6-AD4C-890D-FCF16F15E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15063" y="1231199"/>
            <a:ext cx="5616574" cy="49124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32196A7-D303-4F40-9667-F41D4F1E8E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D14F979-FBDD-4636-89FF-6CF9A83911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87FFF35-EEE9-40B7-88CD-480110846D29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093324" y="0"/>
            <a:ext cx="1739877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57621537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title of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D7B397-8663-3A48-AD9C-349EE7D16D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0001" y="1734085"/>
            <a:ext cx="5648688" cy="44095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BBD698-77A6-AD4C-890D-FCF16F15E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15063" y="1734085"/>
            <a:ext cx="5616574" cy="44095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8DAC6F2-8A9C-0648-95F9-AB4A7A7496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63" y="1230085"/>
            <a:ext cx="5648325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3844F85-D0E5-564A-AD0F-46B0A5587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5063" y="1230085"/>
            <a:ext cx="5616575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23790386-6418-4B23-8FAA-A6C8E5364C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46A85A8-9C28-4019-83A7-88BD43556AA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6DDBF8A0-1AC9-48BA-867B-744DA4DF02A4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0094400" y="0"/>
            <a:ext cx="1739899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fixed date her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459410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 noProof="0"/>
              <a:t>Click to edit title of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D7B397-8663-3A48-AD9C-349EE7D16D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0001" y="1231199"/>
            <a:ext cx="5648688" cy="4912425"/>
          </a:xfrm>
          <a:solidFill>
            <a:srgbClr val="DDE0E3"/>
          </a:solidFill>
        </p:spPr>
        <p:txBody>
          <a:bodyPr lIns="144000" tIns="144000" rIns="144000" b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BBD698-77A6-AD4C-890D-FCF16F15E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15063" y="1231199"/>
            <a:ext cx="5616574" cy="4912425"/>
          </a:xfrm>
          <a:solidFill>
            <a:srgbClr val="DDE0E3"/>
          </a:solidFill>
        </p:spPr>
        <p:txBody>
          <a:bodyPr lIns="144000" tIns="144000" rIns="144000" b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D937E6D-BC0D-4836-B866-D6803A5E1A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D97334F-A944-4126-91EA-9A6BB3BEA4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AE784C57-9AE9-4FE1-9D13-83252DF212D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094400" y="0"/>
            <a:ext cx="1757362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4625581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Left H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D1F9F-C6EC-B848-A93F-DDD845C53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60000"/>
            <a:ext cx="11471636" cy="504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itle of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D7B397-8663-3A48-AD9C-349EE7D16D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0001" y="1735975"/>
            <a:ext cx="5648688" cy="440764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5A4A-94F4-B840-A3FD-9087F4BFD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sert Footer Text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50AC2-FBAD-D24C-831A-8FF9905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8DAC6F2-8A9C-0648-95F9-AB4A7A7496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63" y="1231976"/>
            <a:ext cx="5648325" cy="433388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insert subtitl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C87945EA-7622-41C2-8FD2-67CFD8396DB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15062" y="1231975"/>
            <a:ext cx="5616575" cy="4914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GB" noProof="0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1998156-13D7-45B8-84F2-EF3B7AE04C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363" y="763200"/>
            <a:ext cx="11471275" cy="4091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CB02757-C0CA-4902-9E0E-797871BAEF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363" y="6598800"/>
            <a:ext cx="9547200" cy="152400"/>
          </a:xfrm>
        </p:spPr>
        <p:txBody>
          <a:bodyPr tIns="0" rIns="0" bIns="0"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BE6D1347-7896-4877-8476-CF370ED47D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4" y="0"/>
            <a:ext cx="1738313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1231890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03.xml"/><Relationship Id="rId42" Type="http://schemas.openxmlformats.org/officeDocument/2006/relationships/slideLayout" Target="../slideLayouts/slideLayout124.xml"/><Relationship Id="rId47" Type="http://schemas.openxmlformats.org/officeDocument/2006/relationships/slideLayout" Target="../slideLayouts/slideLayout129.xml"/><Relationship Id="rId63" Type="http://schemas.openxmlformats.org/officeDocument/2006/relationships/slideLayout" Target="../slideLayouts/slideLayout145.xml"/><Relationship Id="rId68" Type="http://schemas.openxmlformats.org/officeDocument/2006/relationships/slideLayout" Target="../slideLayouts/slideLayout150.xml"/><Relationship Id="rId84" Type="http://schemas.openxmlformats.org/officeDocument/2006/relationships/tags" Target="../tags/tag1.xml"/><Relationship Id="rId1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93.xml"/><Relationship Id="rId32" Type="http://schemas.openxmlformats.org/officeDocument/2006/relationships/slideLayout" Target="../slideLayouts/slideLayout114.xml"/><Relationship Id="rId37" Type="http://schemas.openxmlformats.org/officeDocument/2006/relationships/slideLayout" Target="../slideLayouts/slideLayout119.xml"/><Relationship Id="rId53" Type="http://schemas.openxmlformats.org/officeDocument/2006/relationships/slideLayout" Target="../slideLayouts/slideLayout135.xml"/><Relationship Id="rId58" Type="http://schemas.openxmlformats.org/officeDocument/2006/relationships/slideLayout" Target="../slideLayouts/slideLayout140.xml"/><Relationship Id="rId74" Type="http://schemas.openxmlformats.org/officeDocument/2006/relationships/slideLayout" Target="../slideLayouts/slideLayout156.xml"/><Relationship Id="rId79" Type="http://schemas.openxmlformats.org/officeDocument/2006/relationships/slideLayout" Target="../slideLayouts/slideLayout161.xml"/><Relationship Id="rId5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96.xml"/><Relationship Id="rId22" Type="http://schemas.openxmlformats.org/officeDocument/2006/relationships/slideLayout" Target="../slideLayouts/slideLayout104.xml"/><Relationship Id="rId27" Type="http://schemas.openxmlformats.org/officeDocument/2006/relationships/slideLayout" Target="../slideLayouts/slideLayout109.xml"/><Relationship Id="rId30" Type="http://schemas.openxmlformats.org/officeDocument/2006/relationships/slideLayout" Target="../slideLayouts/slideLayout112.xml"/><Relationship Id="rId35" Type="http://schemas.openxmlformats.org/officeDocument/2006/relationships/slideLayout" Target="../slideLayouts/slideLayout117.xml"/><Relationship Id="rId43" Type="http://schemas.openxmlformats.org/officeDocument/2006/relationships/slideLayout" Target="../slideLayouts/slideLayout125.xml"/><Relationship Id="rId48" Type="http://schemas.openxmlformats.org/officeDocument/2006/relationships/slideLayout" Target="../slideLayouts/slideLayout130.xml"/><Relationship Id="rId56" Type="http://schemas.openxmlformats.org/officeDocument/2006/relationships/slideLayout" Target="../slideLayouts/slideLayout138.xml"/><Relationship Id="rId64" Type="http://schemas.openxmlformats.org/officeDocument/2006/relationships/slideLayout" Target="../slideLayouts/slideLayout146.xml"/><Relationship Id="rId69" Type="http://schemas.openxmlformats.org/officeDocument/2006/relationships/slideLayout" Target="../slideLayouts/slideLayout151.xml"/><Relationship Id="rId77" Type="http://schemas.openxmlformats.org/officeDocument/2006/relationships/slideLayout" Target="../slideLayouts/slideLayout159.xml"/><Relationship Id="rId8" Type="http://schemas.openxmlformats.org/officeDocument/2006/relationships/slideLayout" Target="../slideLayouts/slideLayout90.xml"/><Relationship Id="rId51" Type="http://schemas.openxmlformats.org/officeDocument/2006/relationships/slideLayout" Target="../slideLayouts/slideLayout133.xml"/><Relationship Id="rId72" Type="http://schemas.openxmlformats.org/officeDocument/2006/relationships/slideLayout" Target="../slideLayouts/slideLayout154.xml"/><Relationship Id="rId80" Type="http://schemas.openxmlformats.org/officeDocument/2006/relationships/slideLayout" Target="../slideLayouts/slideLayout162.xml"/><Relationship Id="rId85" Type="http://schemas.openxmlformats.org/officeDocument/2006/relationships/oleObject" Target="../embeddings/oleObject1.bin"/><Relationship Id="rId3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4.xml"/><Relationship Id="rId17" Type="http://schemas.openxmlformats.org/officeDocument/2006/relationships/slideLayout" Target="../slideLayouts/slideLayout99.xml"/><Relationship Id="rId25" Type="http://schemas.openxmlformats.org/officeDocument/2006/relationships/slideLayout" Target="../slideLayouts/slideLayout107.xml"/><Relationship Id="rId33" Type="http://schemas.openxmlformats.org/officeDocument/2006/relationships/slideLayout" Target="../slideLayouts/slideLayout115.xml"/><Relationship Id="rId38" Type="http://schemas.openxmlformats.org/officeDocument/2006/relationships/slideLayout" Target="../slideLayouts/slideLayout120.xml"/><Relationship Id="rId46" Type="http://schemas.openxmlformats.org/officeDocument/2006/relationships/slideLayout" Target="../slideLayouts/slideLayout128.xml"/><Relationship Id="rId59" Type="http://schemas.openxmlformats.org/officeDocument/2006/relationships/slideLayout" Target="../slideLayouts/slideLayout141.xml"/><Relationship Id="rId67" Type="http://schemas.openxmlformats.org/officeDocument/2006/relationships/slideLayout" Target="../slideLayouts/slideLayout149.xml"/><Relationship Id="rId20" Type="http://schemas.openxmlformats.org/officeDocument/2006/relationships/slideLayout" Target="../slideLayouts/slideLayout102.xml"/><Relationship Id="rId41" Type="http://schemas.openxmlformats.org/officeDocument/2006/relationships/slideLayout" Target="../slideLayouts/slideLayout123.xml"/><Relationship Id="rId54" Type="http://schemas.openxmlformats.org/officeDocument/2006/relationships/slideLayout" Target="../slideLayouts/slideLayout136.xml"/><Relationship Id="rId62" Type="http://schemas.openxmlformats.org/officeDocument/2006/relationships/slideLayout" Target="../slideLayouts/slideLayout144.xml"/><Relationship Id="rId70" Type="http://schemas.openxmlformats.org/officeDocument/2006/relationships/slideLayout" Target="../slideLayouts/slideLayout152.xml"/><Relationship Id="rId75" Type="http://schemas.openxmlformats.org/officeDocument/2006/relationships/slideLayout" Target="../slideLayouts/slideLayout157.xml"/><Relationship Id="rId83" Type="http://schemas.openxmlformats.org/officeDocument/2006/relationships/theme" Target="../theme/theme2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7.xml"/><Relationship Id="rId23" Type="http://schemas.openxmlformats.org/officeDocument/2006/relationships/slideLayout" Target="../slideLayouts/slideLayout105.xml"/><Relationship Id="rId28" Type="http://schemas.openxmlformats.org/officeDocument/2006/relationships/slideLayout" Target="../slideLayouts/slideLayout110.xml"/><Relationship Id="rId36" Type="http://schemas.openxmlformats.org/officeDocument/2006/relationships/slideLayout" Target="../slideLayouts/slideLayout118.xml"/><Relationship Id="rId49" Type="http://schemas.openxmlformats.org/officeDocument/2006/relationships/slideLayout" Target="../slideLayouts/slideLayout131.xml"/><Relationship Id="rId57" Type="http://schemas.openxmlformats.org/officeDocument/2006/relationships/slideLayout" Target="../slideLayouts/slideLayout139.xml"/><Relationship Id="rId10" Type="http://schemas.openxmlformats.org/officeDocument/2006/relationships/slideLayout" Target="../slideLayouts/slideLayout92.xml"/><Relationship Id="rId31" Type="http://schemas.openxmlformats.org/officeDocument/2006/relationships/slideLayout" Target="../slideLayouts/slideLayout113.xml"/><Relationship Id="rId44" Type="http://schemas.openxmlformats.org/officeDocument/2006/relationships/slideLayout" Target="../slideLayouts/slideLayout126.xml"/><Relationship Id="rId52" Type="http://schemas.openxmlformats.org/officeDocument/2006/relationships/slideLayout" Target="../slideLayouts/slideLayout134.xml"/><Relationship Id="rId60" Type="http://schemas.openxmlformats.org/officeDocument/2006/relationships/slideLayout" Target="../slideLayouts/slideLayout142.xml"/><Relationship Id="rId65" Type="http://schemas.openxmlformats.org/officeDocument/2006/relationships/slideLayout" Target="../slideLayouts/slideLayout147.xml"/><Relationship Id="rId73" Type="http://schemas.openxmlformats.org/officeDocument/2006/relationships/slideLayout" Target="../slideLayouts/slideLayout155.xml"/><Relationship Id="rId78" Type="http://schemas.openxmlformats.org/officeDocument/2006/relationships/slideLayout" Target="../slideLayouts/slideLayout160.xml"/><Relationship Id="rId81" Type="http://schemas.openxmlformats.org/officeDocument/2006/relationships/slideLayout" Target="../slideLayouts/slideLayout163.xml"/><Relationship Id="rId86" Type="http://schemas.openxmlformats.org/officeDocument/2006/relationships/image" Target="../media/image20.emf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5.xml"/><Relationship Id="rId18" Type="http://schemas.openxmlformats.org/officeDocument/2006/relationships/slideLayout" Target="../slideLayouts/slideLayout100.xml"/><Relationship Id="rId39" Type="http://schemas.openxmlformats.org/officeDocument/2006/relationships/slideLayout" Target="../slideLayouts/slideLayout121.xml"/><Relationship Id="rId34" Type="http://schemas.openxmlformats.org/officeDocument/2006/relationships/slideLayout" Target="../slideLayouts/slideLayout116.xml"/><Relationship Id="rId50" Type="http://schemas.openxmlformats.org/officeDocument/2006/relationships/slideLayout" Target="../slideLayouts/slideLayout132.xml"/><Relationship Id="rId55" Type="http://schemas.openxmlformats.org/officeDocument/2006/relationships/slideLayout" Target="../slideLayouts/slideLayout137.xml"/><Relationship Id="rId76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89.xml"/><Relationship Id="rId71" Type="http://schemas.openxmlformats.org/officeDocument/2006/relationships/slideLayout" Target="../slideLayouts/slideLayout153.xml"/><Relationship Id="rId2" Type="http://schemas.openxmlformats.org/officeDocument/2006/relationships/slideLayout" Target="../slideLayouts/slideLayout84.xml"/><Relationship Id="rId29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106.xml"/><Relationship Id="rId40" Type="http://schemas.openxmlformats.org/officeDocument/2006/relationships/slideLayout" Target="../slideLayouts/slideLayout122.xml"/><Relationship Id="rId45" Type="http://schemas.openxmlformats.org/officeDocument/2006/relationships/slideLayout" Target="../slideLayouts/slideLayout127.xml"/><Relationship Id="rId66" Type="http://schemas.openxmlformats.org/officeDocument/2006/relationships/slideLayout" Target="../slideLayouts/slideLayout148.xml"/><Relationship Id="rId61" Type="http://schemas.openxmlformats.org/officeDocument/2006/relationships/slideLayout" Target="../slideLayouts/slideLayout143.xml"/><Relationship Id="rId82" Type="http://schemas.openxmlformats.org/officeDocument/2006/relationships/slideLayout" Target="../slideLayouts/slideLayout1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3529E97-B529-354D-BF51-D128F7F1C9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1" y="360000"/>
            <a:ext cx="11471636" cy="504000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GB" dirty="0"/>
              <a:t>Click to edit title of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FCB707-C38E-4645-AA0F-97BD7E3FC5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1" y="1228725"/>
            <a:ext cx="11471638" cy="4914900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B71169-5C74-8347-A2F3-6D3DF8C9FB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59264" y="0"/>
            <a:ext cx="5648324" cy="3564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ooter Text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5B17D4-E0AB-5B4C-B4F1-821FA80897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93324" y="6507163"/>
            <a:ext cx="1738313" cy="34448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27B5AB01-F165-584F-9D0C-FD8A47F7A7C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21D6D6-1B29-49F5-A178-63530A0EED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3" y="0"/>
            <a:ext cx="1738315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457636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49" r:id="rId2"/>
    <p:sldLayoutId id="2147483670" r:id="rId3"/>
    <p:sldLayoutId id="2147483666" r:id="rId4"/>
    <p:sldLayoutId id="2147483714" r:id="rId5"/>
    <p:sldLayoutId id="2147483749" r:id="rId6"/>
    <p:sldLayoutId id="2147483750" r:id="rId7"/>
    <p:sldLayoutId id="2147483756" r:id="rId8"/>
    <p:sldLayoutId id="2147483650" r:id="rId9"/>
    <p:sldLayoutId id="2147483757" r:id="rId10"/>
    <p:sldLayoutId id="2147483661" r:id="rId11"/>
    <p:sldLayoutId id="2147483654" r:id="rId12"/>
    <p:sldLayoutId id="2147483655" r:id="rId13"/>
    <p:sldLayoutId id="2147483652" r:id="rId14"/>
    <p:sldLayoutId id="2147483662" r:id="rId15"/>
    <p:sldLayoutId id="2147483672" r:id="rId16"/>
    <p:sldLayoutId id="2147483680" r:id="rId17"/>
    <p:sldLayoutId id="2147483677" r:id="rId18"/>
    <p:sldLayoutId id="2147483678" r:id="rId19"/>
    <p:sldLayoutId id="2147483732" r:id="rId20"/>
    <p:sldLayoutId id="2147483733" r:id="rId21"/>
    <p:sldLayoutId id="2147483731" r:id="rId22"/>
    <p:sldLayoutId id="2147483728" r:id="rId23"/>
    <p:sldLayoutId id="2147483730" r:id="rId24"/>
    <p:sldLayoutId id="2147483729" r:id="rId25"/>
    <p:sldLayoutId id="2147483726" r:id="rId26"/>
    <p:sldLayoutId id="2147483724" r:id="rId27"/>
    <p:sldLayoutId id="2147483727" r:id="rId28"/>
    <p:sldLayoutId id="2147483725" r:id="rId29"/>
    <p:sldLayoutId id="2147483745" r:id="rId30"/>
    <p:sldLayoutId id="2147483746" r:id="rId31"/>
    <p:sldLayoutId id="2147483747" r:id="rId32"/>
    <p:sldLayoutId id="2147483748" r:id="rId33"/>
    <p:sldLayoutId id="2147483744" r:id="rId34"/>
    <p:sldLayoutId id="2147483660" r:id="rId35"/>
    <p:sldLayoutId id="2147483663" r:id="rId36"/>
    <p:sldLayoutId id="2147483723" r:id="rId37"/>
    <p:sldLayoutId id="2147483674" r:id="rId38"/>
    <p:sldLayoutId id="2147483722" r:id="rId39"/>
    <p:sldLayoutId id="2147483741" r:id="rId40"/>
    <p:sldLayoutId id="2147483739" r:id="rId41"/>
    <p:sldLayoutId id="2147483734" r:id="rId42"/>
    <p:sldLayoutId id="2147483736" r:id="rId43"/>
    <p:sldLayoutId id="2147483742" r:id="rId44"/>
    <p:sldLayoutId id="2147483737" r:id="rId45"/>
    <p:sldLayoutId id="2147483738" r:id="rId46"/>
    <p:sldLayoutId id="2147483735" r:id="rId47"/>
    <p:sldLayoutId id="2147483740" r:id="rId48"/>
    <p:sldLayoutId id="2147483743" r:id="rId49"/>
    <p:sldLayoutId id="2147483713" r:id="rId50"/>
    <p:sldLayoutId id="2147483681" r:id="rId51"/>
    <p:sldLayoutId id="2147483720" r:id="rId52"/>
    <p:sldLayoutId id="2147483683" r:id="rId53"/>
    <p:sldLayoutId id="2147483687" r:id="rId54"/>
    <p:sldLayoutId id="2147483688" r:id="rId55"/>
    <p:sldLayoutId id="2147483689" r:id="rId56"/>
    <p:sldLayoutId id="2147483690" r:id="rId57"/>
    <p:sldLayoutId id="2147483701" r:id="rId58"/>
    <p:sldLayoutId id="2147483703" r:id="rId59"/>
    <p:sldLayoutId id="2147483702" r:id="rId60"/>
    <p:sldLayoutId id="2147483667" r:id="rId61"/>
    <p:sldLayoutId id="2147483752" r:id="rId62"/>
    <p:sldLayoutId id="2147483684" r:id="rId63"/>
    <p:sldLayoutId id="2147483715" r:id="rId64"/>
    <p:sldLayoutId id="2147483716" r:id="rId65"/>
    <p:sldLayoutId id="2147483717" r:id="rId66"/>
    <p:sldLayoutId id="2147483665" r:id="rId67"/>
    <p:sldLayoutId id="2147483754" r:id="rId68"/>
    <p:sldLayoutId id="2147483755" r:id="rId69"/>
    <p:sldLayoutId id="2147483718" r:id="rId70"/>
    <p:sldLayoutId id="2147483719" r:id="rId71"/>
    <p:sldLayoutId id="2147483651" r:id="rId72"/>
    <p:sldLayoutId id="2147483669" r:id="rId73"/>
    <p:sldLayoutId id="2147483751" r:id="rId74"/>
    <p:sldLayoutId id="2147483753" r:id="rId75"/>
    <p:sldLayoutId id="2147483682" r:id="rId76"/>
    <p:sldLayoutId id="2147483685" r:id="rId77"/>
    <p:sldLayoutId id="2147483686" r:id="rId78"/>
    <p:sldLayoutId id="2147483709" r:id="rId79"/>
    <p:sldLayoutId id="2147483710" r:id="rId80"/>
    <p:sldLayoutId id="2147483711" r:id="rId81"/>
    <p:sldLayoutId id="2147483712" r:id="rId8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79388" algn="l" defTabSz="914400" rtl="0" eaLnBrk="1" latinLnBrk="0" hangingPunct="1">
        <a:lnSpc>
          <a:spcPct val="9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1323" userDrawn="1">
          <p15:clr>
            <a:srgbClr val="A4A3A4"/>
          </p15:clr>
        </p15:guide>
        <p15:guide id="3" pos="1459" userDrawn="1">
          <p15:clr>
            <a:srgbClr val="A4A3A4"/>
          </p15:clr>
        </p15:guide>
        <p15:guide id="4" pos="2547" userDrawn="1">
          <p15:clr>
            <a:srgbClr val="A4A3A4"/>
          </p15:clr>
        </p15:guide>
        <p15:guide id="5" pos="2683" userDrawn="1">
          <p15:clr>
            <a:srgbClr val="A4A3A4"/>
          </p15:clr>
        </p15:guide>
        <p15:guide id="7" pos="3915" userDrawn="1">
          <p15:clr>
            <a:srgbClr val="A4A3A4"/>
          </p15:clr>
        </p15:guide>
        <p15:guide id="8" pos="3785" userDrawn="1">
          <p15:clr>
            <a:srgbClr val="A4A3A4"/>
          </p15:clr>
        </p15:guide>
        <p15:guide id="9" pos="5019" userDrawn="1">
          <p15:clr>
            <a:srgbClr val="A4A3A4"/>
          </p15:clr>
        </p15:guide>
        <p15:guide id="10" pos="5138" userDrawn="1">
          <p15:clr>
            <a:srgbClr val="A4A3A4"/>
          </p15:clr>
        </p15:guide>
        <p15:guide id="11" pos="6241" userDrawn="1">
          <p15:clr>
            <a:srgbClr val="A4A3A4"/>
          </p15:clr>
        </p15:guide>
        <p15:guide id="12" pos="6357" userDrawn="1">
          <p15:clr>
            <a:srgbClr val="A4A3A4"/>
          </p15:clr>
        </p15:guide>
        <p15:guide id="13" pos="7453" userDrawn="1">
          <p15:clr>
            <a:srgbClr val="A4A3A4"/>
          </p15:clr>
        </p15:guide>
        <p15:guide id="16" orient="horz" pos="225" userDrawn="1">
          <p15:clr>
            <a:srgbClr val="A4A3A4"/>
          </p15:clr>
        </p15:guide>
        <p15:guide id="17" orient="horz" pos="2180" userDrawn="1">
          <p15:clr>
            <a:srgbClr val="A4A3A4"/>
          </p15:clr>
        </p15:guide>
        <p15:guide id="18" orient="horz" pos="774" userDrawn="1">
          <p15:clr>
            <a:srgbClr val="A4A3A4"/>
          </p15:clr>
        </p15:guide>
        <p15:guide id="19" orient="horz" pos="4235" userDrawn="1">
          <p15:clr>
            <a:srgbClr val="A4A3A4"/>
          </p15:clr>
        </p15:guide>
        <p15:guide id="20" pos="225" userDrawn="1">
          <p15:clr>
            <a:srgbClr val="A4A3A4"/>
          </p15:clr>
        </p15:guide>
        <p15:guide id="21" orient="horz" pos="3936" userDrawn="1">
          <p15:clr>
            <a:srgbClr val="A4A3A4"/>
          </p15:clr>
        </p15:guide>
        <p15:guide id="24" orient="horz" pos="653" userDrawn="1">
          <p15:clr>
            <a:srgbClr val="A4A3A4"/>
          </p15:clr>
        </p15:guide>
        <p15:guide id="25" orient="horz" pos="3870" userDrawn="1">
          <p15:clr>
            <a:srgbClr val="A4A3A4"/>
          </p15:clr>
        </p15:guide>
        <p15:guide id="26" orient="horz" pos="2322" userDrawn="1">
          <p15:clr>
            <a:srgbClr val="A4A3A4"/>
          </p15:clr>
        </p15:guide>
        <p15:guide id="27" orient="horz" pos="2463" userDrawn="1">
          <p15:clr>
            <a:srgbClr val="A4A3A4"/>
          </p15:clr>
        </p15:guide>
        <p15:guide id="28" pos="3849" userDrawn="1">
          <p15:clr>
            <a:srgbClr val="A4A3A4"/>
          </p15:clr>
        </p15:guide>
        <p15:guide id="29" orient="horz" pos="1026" userDrawn="1">
          <p15:clr>
            <a:srgbClr val="A4A3A4"/>
          </p15:clr>
        </p15:guide>
        <p15:guide id="30" pos="3682" userDrawn="1">
          <p15:clr>
            <a:srgbClr val="A4A3A4"/>
          </p15:clr>
        </p15:guide>
        <p15:guide id="31" pos="1595" userDrawn="1">
          <p15:clr>
            <a:srgbClr val="A4A3A4"/>
          </p15:clr>
        </p15:guide>
        <p15:guide id="32" orient="horz" pos="1952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F8AE77A-B2EA-4372-B042-BACF3630AB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4"/>
            </p:custDataLst>
            <p:extLst>
              <p:ext uri="{D42A27DB-BD31-4B8C-83A1-F6EECF244321}">
                <p14:modId xmlns:p14="http://schemas.microsoft.com/office/powerpoint/2010/main" val="1900295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5" imgW="473" imgH="473" progId="TCLayout.ActiveDocument.1">
                  <p:embed/>
                </p:oleObj>
              </mc:Choice>
              <mc:Fallback>
                <p:oleObj name="think-cell Slide" r:id="rId8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F8AE77A-B2EA-4372-B042-BACF3630AB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3529E97-B529-354D-BF51-D128F7F1C9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1" y="360000"/>
            <a:ext cx="11471636" cy="504000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GB" dirty="0"/>
              <a:t>Click to edit title of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FCB707-C38E-4645-AA0F-97BD7E3FC5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1" y="1228725"/>
            <a:ext cx="11471638" cy="4914900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B71169-5C74-8347-A2F3-6D3DF8C9FB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59264" y="0"/>
            <a:ext cx="5648324" cy="3564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ooter Text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5B17D4-E0AB-5B4C-B4F1-821FA80897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93324" y="6507163"/>
            <a:ext cx="1738313" cy="34448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27B5AB01-F165-584F-9D0C-FD8A47F7A7C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21D6D6-1B29-49F5-A178-63530A0EED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3323" y="0"/>
            <a:ext cx="1738315" cy="3564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fixed dat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910375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1" r:id="rId23"/>
    <p:sldLayoutId id="2147483782" r:id="rId24"/>
    <p:sldLayoutId id="2147483783" r:id="rId25"/>
    <p:sldLayoutId id="2147483784" r:id="rId26"/>
    <p:sldLayoutId id="2147483785" r:id="rId27"/>
    <p:sldLayoutId id="2147483786" r:id="rId28"/>
    <p:sldLayoutId id="2147483787" r:id="rId29"/>
    <p:sldLayoutId id="2147483788" r:id="rId30"/>
    <p:sldLayoutId id="2147483789" r:id="rId31"/>
    <p:sldLayoutId id="2147483790" r:id="rId32"/>
    <p:sldLayoutId id="2147483791" r:id="rId33"/>
    <p:sldLayoutId id="2147483792" r:id="rId34"/>
    <p:sldLayoutId id="2147483793" r:id="rId35"/>
    <p:sldLayoutId id="2147483794" r:id="rId36"/>
    <p:sldLayoutId id="2147483795" r:id="rId37"/>
    <p:sldLayoutId id="2147483796" r:id="rId38"/>
    <p:sldLayoutId id="2147483797" r:id="rId39"/>
    <p:sldLayoutId id="2147483798" r:id="rId40"/>
    <p:sldLayoutId id="2147483799" r:id="rId41"/>
    <p:sldLayoutId id="2147483800" r:id="rId42"/>
    <p:sldLayoutId id="2147483801" r:id="rId43"/>
    <p:sldLayoutId id="2147483802" r:id="rId44"/>
    <p:sldLayoutId id="2147483803" r:id="rId45"/>
    <p:sldLayoutId id="2147483804" r:id="rId46"/>
    <p:sldLayoutId id="2147483805" r:id="rId47"/>
    <p:sldLayoutId id="2147483806" r:id="rId48"/>
    <p:sldLayoutId id="2147483807" r:id="rId49"/>
    <p:sldLayoutId id="2147483808" r:id="rId50"/>
    <p:sldLayoutId id="2147483809" r:id="rId51"/>
    <p:sldLayoutId id="2147483810" r:id="rId52"/>
    <p:sldLayoutId id="2147483811" r:id="rId53"/>
    <p:sldLayoutId id="2147483812" r:id="rId54"/>
    <p:sldLayoutId id="2147483813" r:id="rId55"/>
    <p:sldLayoutId id="2147483814" r:id="rId56"/>
    <p:sldLayoutId id="2147483815" r:id="rId57"/>
    <p:sldLayoutId id="2147483816" r:id="rId58"/>
    <p:sldLayoutId id="2147483817" r:id="rId59"/>
    <p:sldLayoutId id="2147483818" r:id="rId60"/>
    <p:sldLayoutId id="2147483819" r:id="rId61"/>
    <p:sldLayoutId id="2147483820" r:id="rId62"/>
    <p:sldLayoutId id="2147483821" r:id="rId63"/>
    <p:sldLayoutId id="2147483822" r:id="rId64"/>
    <p:sldLayoutId id="2147483823" r:id="rId65"/>
    <p:sldLayoutId id="2147483824" r:id="rId66"/>
    <p:sldLayoutId id="2147483825" r:id="rId67"/>
    <p:sldLayoutId id="2147483826" r:id="rId68"/>
    <p:sldLayoutId id="2147483827" r:id="rId69"/>
    <p:sldLayoutId id="2147483828" r:id="rId70"/>
    <p:sldLayoutId id="2147483829" r:id="rId71"/>
    <p:sldLayoutId id="2147483830" r:id="rId72"/>
    <p:sldLayoutId id="2147483831" r:id="rId73"/>
    <p:sldLayoutId id="2147483832" r:id="rId74"/>
    <p:sldLayoutId id="2147483833" r:id="rId75"/>
    <p:sldLayoutId id="2147483834" r:id="rId76"/>
    <p:sldLayoutId id="2147483835" r:id="rId77"/>
    <p:sldLayoutId id="2147483836" r:id="rId78"/>
    <p:sldLayoutId id="2147483837" r:id="rId79"/>
    <p:sldLayoutId id="2147483838" r:id="rId80"/>
    <p:sldLayoutId id="2147483839" r:id="rId81"/>
    <p:sldLayoutId id="2147483840" r:id="rId8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79388" algn="l" defTabSz="914400" rtl="0" eaLnBrk="1" latinLnBrk="0" hangingPunct="1">
        <a:lnSpc>
          <a:spcPct val="9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1323">
          <p15:clr>
            <a:srgbClr val="A4A3A4"/>
          </p15:clr>
        </p15:guide>
        <p15:guide id="3" pos="1459">
          <p15:clr>
            <a:srgbClr val="A4A3A4"/>
          </p15:clr>
        </p15:guide>
        <p15:guide id="4" pos="2547">
          <p15:clr>
            <a:srgbClr val="A4A3A4"/>
          </p15:clr>
        </p15:guide>
        <p15:guide id="5" pos="2683">
          <p15:clr>
            <a:srgbClr val="A4A3A4"/>
          </p15:clr>
        </p15:guide>
        <p15:guide id="7" pos="3915">
          <p15:clr>
            <a:srgbClr val="A4A3A4"/>
          </p15:clr>
        </p15:guide>
        <p15:guide id="8" pos="3785">
          <p15:clr>
            <a:srgbClr val="A4A3A4"/>
          </p15:clr>
        </p15:guide>
        <p15:guide id="9" pos="5019">
          <p15:clr>
            <a:srgbClr val="A4A3A4"/>
          </p15:clr>
        </p15:guide>
        <p15:guide id="10" pos="5138">
          <p15:clr>
            <a:srgbClr val="A4A3A4"/>
          </p15:clr>
        </p15:guide>
        <p15:guide id="11" pos="6241">
          <p15:clr>
            <a:srgbClr val="A4A3A4"/>
          </p15:clr>
        </p15:guide>
        <p15:guide id="12" pos="6357">
          <p15:clr>
            <a:srgbClr val="A4A3A4"/>
          </p15:clr>
        </p15:guide>
        <p15:guide id="13" pos="7453">
          <p15:clr>
            <a:srgbClr val="A4A3A4"/>
          </p15:clr>
        </p15:guide>
        <p15:guide id="16" orient="horz" pos="225">
          <p15:clr>
            <a:srgbClr val="A4A3A4"/>
          </p15:clr>
        </p15:guide>
        <p15:guide id="17" orient="horz" pos="2180">
          <p15:clr>
            <a:srgbClr val="A4A3A4"/>
          </p15:clr>
        </p15:guide>
        <p15:guide id="18" orient="horz" pos="774">
          <p15:clr>
            <a:srgbClr val="A4A3A4"/>
          </p15:clr>
        </p15:guide>
        <p15:guide id="19" orient="horz" pos="4235">
          <p15:clr>
            <a:srgbClr val="A4A3A4"/>
          </p15:clr>
        </p15:guide>
        <p15:guide id="20" pos="225">
          <p15:clr>
            <a:srgbClr val="A4A3A4"/>
          </p15:clr>
        </p15:guide>
        <p15:guide id="21" orient="horz" pos="3936">
          <p15:clr>
            <a:srgbClr val="A4A3A4"/>
          </p15:clr>
        </p15:guide>
        <p15:guide id="24" orient="horz" pos="653">
          <p15:clr>
            <a:srgbClr val="A4A3A4"/>
          </p15:clr>
        </p15:guide>
        <p15:guide id="25" orient="horz" pos="3870">
          <p15:clr>
            <a:srgbClr val="A4A3A4"/>
          </p15:clr>
        </p15:guide>
        <p15:guide id="26" orient="horz" pos="2322">
          <p15:clr>
            <a:srgbClr val="A4A3A4"/>
          </p15:clr>
        </p15:guide>
        <p15:guide id="27" orient="horz" pos="2463">
          <p15:clr>
            <a:srgbClr val="A4A3A4"/>
          </p15:clr>
        </p15:guide>
        <p15:guide id="28" pos="3849">
          <p15:clr>
            <a:srgbClr val="A4A3A4"/>
          </p15:clr>
        </p15:guide>
        <p15:guide id="29" orient="horz" pos="1026">
          <p15:clr>
            <a:srgbClr val="A4A3A4"/>
          </p15:clr>
        </p15:guide>
        <p15:guide id="30" pos="3682">
          <p15:clr>
            <a:srgbClr val="A4A3A4"/>
          </p15:clr>
        </p15:guide>
        <p15:guide id="31" pos="1595">
          <p15:clr>
            <a:srgbClr val="A4A3A4"/>
          </p15:clr>
        </p15:guide>
        <p15:guide id="32" orient="horz" pos="195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97.xml"/><Relationship Id="rId1" Type="http://schemas.openxmlformats.org/officeDocument/2006/relationships/tags" Target="../tags/tag2.xml"/><Relationship Id="rId4" Type="http://schemas.openxmlformats.org/officeDocument/2006/relationships/image" Target="../media/image20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3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97.xml"/><Relationship Id="rId1" Type="http://schemas.openxmlformats.org/officeDocument/2006/relationships/tags" Target="../tags/tag3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20.emf"/><Relationship Id="rId9" Type="http://schemas.microsoft.com/office/2007/relationships/diagramDrawing" Target="../diagrams/drawin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08528CF0-55E8-8A4D-A0CA-19FB53858D9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95360" y="3288916"/>
            <a:ext cx="5919537" cy="438582"/>
          </a:xfrm>
        </p:spPr>
        <p:txBody>
          <a:bodyPr/>
          <a:lstStyle/>
          <a:p>
            <a:r>
              <a:rPr lang="en-GB" dirty="0">
                <a:solidFill>
                  <a:srgbClr val="7EBD5F"/>
                </a:solidFill>
              </a:rPr>
              <a:t>2024 Key Information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60F7069-0B55-2849-89BA-7FC104B50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4400" y="2508351"/>
            <a:ext cx="9731738" cy="780566"/>
          </a:xfrm>
        </p:spPr>
        <p:txBody>
          <a:bodyPr/>
          <a:lstStyle/>
          <a:p>
            <a:r>
              <a:rPr lang="en-GB" dirty="0"/>
              <a:t>M&amp;G Annual Investment Forum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780392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64E4A7D9-1EE9-4024-A468-3BC7B5BAEB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64E4A7D9-1EE9-4024-A468-3BC7B5BAE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1AA3B68C-72F6-4455-9FD1-531168C1E1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nnual Investment Forum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AAD9AF-0D18-4948-82A7-385DE07DDF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B5AB01-F165-584F-9D0C-FD8A47F7A7C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55A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55A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7" name="Table 9">
            <a:extLst>
              <a:ext uri="{FF2B5EF4-FFF2-40B4-BE49-F238E27FC236}">
                <a16:creationId xmlns:a16="http://schemas.microsoft.com/office/drawing/2014/main" id="{9CD1D448-087A-6587-3D1C-2C7810A3CC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1120031"/>
              </p:ext>
            </p:extLst>
          </p:nvPr>
        </p:nvGraphicFramePr>
        <p:xfrm>
          <a:off x="360000" y="1119834"/>
          <a:ext cx="10969415" cy="5409767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5501304">
                  <a:extLst>
                    <a:ext uri="{9D8B030D-6E8A-4147-A177-3AD203B41FA5}">
                      <a16:colId xmlns:a16="http://schemas.microsoft.com/office/drawing/2014/main" val="4272236342"/>
                    </a:ext>
                  </a:extLst>
                </a:gridCol>
                <a:gridCol w="5468111">
                  <a:extLst>
                    <a:ext uri="{9D8B030D-6E8A-4147-A177-3AD203B41FA5}">
                      <a16:colId xmlns:a16="http://schemas.microsoft.com/office/drawing/2014/main" val="1204687615"/>
                    </a:ext>
                  </a:extLst>
                </a:gridCol>
              </a:tblGrid>
              <a:tr h="455148">
                <a:tc>
                  <a:txBody>
                    <a:bodyPr/>
                    <a:lstStyle/>
                    <a:p>
                      <a:r>
                        <a:rPr lang="en-GB" dirty="0"/>
                        <a:t>Objec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KP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1899782"/>
                  </a:ext>
                </a:extLst>
              </a:tr>
              <a:tr h="78559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/>
                        <a:t>To elevate brand awareness and preference with key clients global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UK: Improvement in brand ranking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International: Event feedback metric to gauge preference with key cli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1959899"/>
                  </a:ext>
                </a:extLst>
              </a:tr>
              <a:tr h="11222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/>
                        <a:t>To demonstrate M&amp;G Investment’s thought leadership, showcase innovative ideas, breadth of capabilities and be front of mind for invest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Content feedback to be on average, above 4/5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No show rate of less than 15% (</a:t>
                      </a:r>
                      <a:r>
                        <a:rPr lang="en-GB" dirty="0" err="1"/>
                        <a:t>avg</a:t>
                      </a:r>
                      <a:r>
                        <a:rPr lang="en-GB" dirty="0"/>
                        <a:t> is 30+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0132878"/>
                  </a:ext>
                </a:extLst>
              </a:tr>
              <a:tr h="14589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/>
                        <a:t>To create opportunity for clients to network, ask questions and engage with both M&amp;G decision makers and industry experts</a:t>
                      </a:r>
                    </a:p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Requests for follow up meeting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Retention rate for networking element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1071791"/>
                  </a:ext>
                </a:extLst>
              </a:tr>
              <a:tr h="1458968">
                <a:tc>
                  <a:txBody>
                    <a:bodyPr/>
                    <a:lstStyle/>
                    <a:p>
                      <a:r>
                        <a:rPr lang="en-GB" dirty="0"/>
                        <a:t>Launch the new creative platform, make a strong statement to the market that “M&amp;G is back”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Event feedback metric to gauge preference with key client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Increased engagement on social medi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97596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32902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33FE72-7D06-243B-9939-9D4B5A0793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ate and Forma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1A11CD-A4EC-B736-5172-BFE696E1C4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US" smtClean="0"/>
              <a:t>3</a:t>
            </a:fld>
            <a:endParaRPr lang="en-US"/>
          </a:p>
        </p:txBody>
      </p:sp>
      <p:graphicFrame>
        <p:nvGraphicFramePr>
          <p:cNvPr id="7" name="Table 19">
            <a:extLst>
              <a:ext uri="{FF2B5EF4-FFF2-40B4-BE49-F238E27FC236}">
                <a16:creationId xmlns:a16="http://schemas.microsoft.com/office/drawing/2014/main" id="{EC415416-1402-56DF-676C-E4ACB9A6BA6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65559317"/>
              </p:ext>
            </p:extLst>
          </p:nvPr>
        </p:nvGraphicFramePr>
        <p:xfrm>
          <a:off x="359999" y="1575608"/>
          <a:ext cx="11265944" cy="275336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974940">
                  <a:extLst>
                    <a:ext uri="{9D8B030D-6E8A-4147-A177-3AD203B41FA5}">
                      <a16:colId xmlns:a16="http://schemas.microsoft.com/office/drawing/2014/main" val="3166833541"/>
                    </a:ext>
                  </a:extLst>
                </a:gridCol>
                <a:gridCol w="2264424">
                  <a:extLst>
                    <a:ext uri="{9D8B030D-6E8A-4147-A177-3AD203B41FA5}">
                      <a16:colId xmlns:a16="http://schemas.microsoft.com/office/drawing/2014/main" val="1042376311"/>
                    </a:ext>
                  </a:extLst>
                </a:gridCol>
                <a:gridCol w="3513290">
                  <a:extLst>
                    <a:ext uri="{9D8B030D-6E8A-4147-A177-3AD203B41FA5}">
                      <a16:colId xmlns:a16="http://schemas.microsoft.com/office/drawing/2014/main" val="176800491"/>
                    </a:ext>
                  </a:extLst>
                </a:gridCol>
                <a:gridCol w="3513290">
                  <a:extLst>
                    <a:ext uri="{9D8B030D-6E8A-4147-A177-3AD203B41FA5}">
                      <a16:colId xmlns:a16="http://schemas.microsoft.com/office/drawing/2014/main" val="168805371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GB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50" dirty="0"/>
                        <a:t>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50" dirty="0"/>
                        <a:t>Timin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50" dirty="0"/>
                        <a:t>Client group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02461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U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Tues 30</a:t>
                      </a:r>
                      <a:r>
                        <a:rPr lang="en-GB" sz="1400" baseline="30000" dirty="0"/>
                        <a:t>th</a:t>
                      </a:r>
                      <a:r>
                        <a:rPr lang="en-GB" sz="1400" dirty="0"/>
                        <a:t> Janu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UK Investment professionals, predominately existing clients; aiming for 80% of the delegates to be gatekeepers</a:t>
                      </a:r>
                    </a:p>
                    <a:p>
                      <a:r>
                        <a:rPr lang="en-GB" sz="1200" dirty="0"/>
                        <a:t>Usually between 100 -130 clients in atten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70067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Glob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Weds 31</a:t>
                      </a:r>
                      <a:r>
                        <a:rPr lang="en-GB" sz="1400" baseline="30000" dirty="0"/>
                        <a:t>st</a:t>
                      </a:r>
                      <a:r>
                        <a:rPr lang="en-GB" sz="1400" dirty="0"/>
                        <a:t> Janu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</a:pP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</a:pPr>
                      <a:r>
                        <a:rPr lang="en-GB" sz="1200" dirty="0"/>
                        <a:t>Investment professionals from across the globe (Europe, LATAM &amp; Asia); Asset allocators, Heads of fund selectors, product and investment heads - large advisors and senior bankers. </a:t>
                      </a:r>
                    </a:p>
                    <a:p>
                      <a:pPr marL="0" indent="0">
                        <a:spcBef>
                          <a:spcPts val="0"/>
                        </a:spcBef>
                      </a:pPr>
                      <a:r>
                        <a:rPr lang="en-GB" sz="1200" dirty="0"/>
                        <a:t>Usually between 100 - 130 clients in attendance, around 10 - 15 from each reg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58040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Internal – GS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Thursday 1st Fe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</a:pP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</a:pPr>
                      <a:r>
                        <a:rPr lang="en-GB" sz="1200" dirty="0"/>
                        <a:t>GSM + Sales din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548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13899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33FE72-7D06-243B-9939-9D4B5A0793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1" y="360000"/>
            <a:ext cx="11471636" cy="504000"/>
          </a:xfrm>
        </p:spPr>
        <p:txBody>
          <a:bodyPr anchor="t">
            <a:normAutofit/>
          </a:bodyPr>
          <a:lstStyle/>
          <a:p>
            <a:r>
              <a:rPr lang="en-GB" dirty="0"/>
              <a:t>Timing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CE9DD1A4-9BFB-1640-C469-2DD2EBD83D08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867227868"/>
              </p:ext>
            </p:extLst>
          </p:nvPr>
        </p:nvGraphicFramePr>
        <p:xfrm>
          <a:off x="6215063" y="1231198"/>
          <a:ext cx="5616575" cy="4912431"/>
        </p:xfrm>
        <a:graphic>
          <a:graphicData uri="http://schemas.openxmlformats.org/drawingml/2006/table">
            <a:tbl>
              <a:tblPr>
                <a:tableStyleId>{7E9639D4-E3E2-4D34-9284-5A2195B3D0D7}</a:tableStyleId>
              </a:tblPr>
              <a:tblGrid>
                <a:gridCol w="446994">
                  <a:extLst>
                    <a:ext uri="{9D8B030D-6E8A-4147-A177-3AD203B41FA5}">
                      <a16:colId xmlns:a16="http://schemas.microsoft.com/office/drawing/2014/main" val="1304828425"/>
                    </a:ext>
                  </a:extLst>
                </a:gridCol>
                <a:gridCol w="435429">
                  <a:extLst>
                    <a:ext uri="{9D8B030D-6E8A-4147-A177-3AD203B41FA5}">
                      <a16:colId xmlns:a16="http://schemas.microsoft.com/office/drawing/2014/main" val="3267939897"/>
                    </a:ext>
                  </a:extLst>
                </a:gridCol>
                <a:gridCol w="3433665">
                  <a:extLst>
                    <a:ext uri="{9D8B030D-6E8A-4147-A177-3AD203B41FA5}">
                      <a16:colId xmlns:a16="http://schemas.microsoft.com/office/drawing/2014/main" val="2516056924"/>
                    </a:ext>
                  </a:extLst>
                </a:gridCol>
                <a:gridCol w="1300487">
                  <a:extLst>
                    <a:ext uri="{9D8B030D-6E8A-4147-A177-3AD203B41FA5}">
                      <a16:colId xmlns:a16="http://schemas.microsoft.com/office/drawing/2014/main" val="646729630"/>
                    </a:ext>
                  </a:extLst>
                </a:gridCol>
              </a:tblGrid>
              <a:tr h="364862">
                <a:tc gridSpan="3"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sng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lobal Annual Investment Forum 2024</a:t>
                      </a:r>
                    </a:p>
                  </a:txBody>
                  <a:tcPr marL="7903" marR="7903" marT="7903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GB" sz="1000" u="sng" strike="noStrike" kern="1200" cap="none" spc="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903" marR="7903" marT="7903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7940993"/>
                  </a:ext>
                </a:extLst>
              </a:tr>
              <a:tr h="235685">
                <a:tc gridSpan="3"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dnesday 31st January</a:t>
                      </a:r>
                    </a:p>
                  </a:txBody>
                  <a:tcPr marL="7903" marR="7903" marT="7903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7903" marR="7903" marT="7903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8739721"/>
                  </a:ext>
                </a:extLst>
              </a:tr>
              <a:tr h="355963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rt Time</a:t>
                      </a:r>
                    </a:p>
                  </a:txBody>
                  <a:tcPr marL="7903" marR="7903" marT="7903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d Time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genda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cation: The Londoner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8292139"/>
                  </a:ext>
                </a:extLst>
              </a:tr>
              <a:tr h="18050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:00</a:t>
                      </a:r>
                    </a:p>
                  </a:txBody>
                  <a:tcPr marL="7903" marR="7903" marT="7903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:30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stration, Luggage Drop &amp; Light Brunch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llroom Foyer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6898398"/>
                  </a:ext>
                </a:extLst>
              </a:tr>
              <a:tr h="18050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:30</a:t>
                      </a:r>
                    </a:p>
                  </a:txBody>
                  <a:tcPr marL="7903" marR="7903" marT="7903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:35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lcome &amp; Introduction: Joseph Pinto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llroom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625082"/>
                  </a:ext>
                </a:extLst>
              </a:tr>
              <a:tr h="18050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:35</a:t>
                      </a:r>
                    </a:p>
                  </a:txBody>
                  <a:tcPr marL="7903" marR="7903" marT="7903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:15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in Platform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llroom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3858817"/>
                  </a:ext>
                </a:extLst>
              </a:tr>
              <a:tr h="18050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:15</a:t>
                      </a:r>
                    </a:p>
                  </a:txBody>
                  <a:tcPr marL="7903" marR="7903" marT="7903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:00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in Platform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llroom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4876153"/>
                  </a:ext>
                </a:extLst>
              </a:tr>
              <a:tr h="18050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:00</a:t>
                      </a:r>
                    </a:p>
                  </a:txBody>
                  <a:tcPr marL="7903" marR="7903" marT="7903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:15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angeover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llroom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8370477"/>
                  </a:ext>
                </a:extLst>
              </a:tr>
              <a:tr h="35596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:15</a:t>
                      </a:r>
                    </a:p>
                  </a:txBody>
                  <a:tcPr marL="7903" marR="7903" marT="7903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:00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ardroom session 1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Gallery / Ballroom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1904055"/>
                  </a:ext>
                </a:extLst>
              </a:tr>
              <a:tr h="18050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:00</a:t>
                      </a:r>
                    </a:p>
                  </a:txBody>
                  <a:tcPr marL="7903" marR="7903" marT="7903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:45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unch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9125417"/>
                  </a:ext>
                </a:extLst>
              </a:tr>
              <a:tr h="35596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:45</a:t>
                      </a:r>
                    </a:p>
                  </a:txBody>
                  <a:tcPr marL="7903" marR="7903" marT="7903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:30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ardroom session 2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Gallery / Ballroom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4548810"/>
                  </a:ext>
                </a:extLst>
              </a:tr>
              <a:tr h="18050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:30</a:t>
                      </a:r>
                    </a:p>
                  </a:txBody>
                  <a:tcPr marL="7903" marR="7903" marT="7903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:40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angeover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2108327"/>
                  </a:ext>
                </a:extLst>
              </a:tr>
              <a:tr h="18050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:40</a:t>
                      </a:r>
                    </a:p>
                  </a:txBody>
                  <a:tcPr marL="7903" marR="7903" marT="7903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:25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ardroom session 3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99077"/>
                  </a:ext>
                </a:extLst>
              </a:tr>
              <a:tr h="18050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:25</a:t>
                      </a:r>
                    </a:p>
                  </a:txBody>
                  <a:tcPr marL="7903" marR="7903" marT="7903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:45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ffee Break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836093"/>
                  </a:ext>
                </a:extLst>
              </a:tr>
              <a:tr h="35596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:45</a:t>
                      </a:r>
                    </a:p>
                  </a:txBody>
                  <a:tcPr marL="7903" marR="7903" marT="7903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:30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ardroom session 4 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Gallery / Ballroom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0808073"/>
                  </a:ext>
                </a:extLst>
              </a:tr>
              <a:tr h="18050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:30</a:t>
                      </a:r>
                    </a:p>
                  </a:txBody>
                  <a:tcPr marL="7903" marR="7903" marT="7903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:00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tel Check In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628828"/>
                  </a:ext>
                </a:extLst>
              </a:tr>
              <a:tr h="18050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:00</a:t>
                      </a:r>
                    </a:p>
                  </a:txBody>
                  <a:tcPr marL="7903" marR="7903" marT="7903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:00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rinks Reception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een Room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2453622"/>
                  </a:ext>
                </a:extLst>
              </a:tr>
              <a:tr h="18050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:50</a:t>
                      </a:r>
                    </a:p>
                  </a:txBody>
                  <a:tcPr marL="7903" marR="7903" marT="7903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:00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uests asked to take seats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llroom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740028"/>
                  </a:ext>
                </a:extLst>
              </a:tr>
              <a:tr h="18050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:00</a:t>
                      </a:r>
                    </a:p>
                  </a:txBody>
                  <a:tcPr marL="7903" marR="7903" marT="7903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:00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nner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llroom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9762721"/>
                  </a:ext>
                </a:extLst>
              </a:tr>
              <a:tr h="18050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:00</a:t>
                      </a:r>
                    </a:p>
                  </a:txBody>
                  <a:tcPr marL="7903" marR="7903" marT="7903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:05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lcome TBC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llroom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362422"/>
                  </a:ext>
                </a:extLst>
              </a:tr>
              <a:tr h="18050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:05</a:t>
                      </a:r>
                    </a:p>
                  </a:txBody>
                  <a:tcPr marL="7903" marR="7903" marT="7903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:00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nner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llroom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937291"/>
                  </a:ext>
                </a:extLst>
              </a:tr>
              <a:tr h="18050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:00</a:t>
                      </a:r>
                    </a:p>
                  </a:txBody>
                  <a:tcPr marL="7903" marR="7903" marT="7903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riages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000" u="none" strike="noStrike" kern="1200" cap="none" spc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7903" marR="7903" marT="7903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778641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1A11CD-A4EC-B736-5172-BFE696E1C4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93324" y="6507163"/>
            <a:ext cx="1738313" cy="344488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7B5AB01-F165-584F-9D0C-FD8A47F7A7CB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BCD02145-6331-313C-6EDD-EDEAEAA872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3" y="763200"/>
            <a:ext cx="11471275" cy="409128"/>
          </a:xfrm>
        </p:spPr>
        <p:txBody>
          <a:bodyPr/>
          <a:lstStyle/>
          <a:p>
            <a:r>
              <a:rPr lang="en-US" sz="1400" i="1" dirty="0"/>
              <a:t>Draft agenda: timings subject to chang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E8E9405-BB1D-CAA5-1E70-5BDD750457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6598800"/>
            <a:ext cx="9547200" cy="152400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8F03883-9B85-77D6-8250-6EFA70ABA7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9283859"/>
              </p:ext>
            </p:extLst>
          </p:nvPr>
        </p:nvGraphicFramePr>
        <p:xfrm>
          <a:off x="515201" y="1231199"/>
          <a:ext cx="5338289" cy="4912426"/>
        </p:xfrm>
        <a:graphic>
          <a:graphicData uri="http://schemas.openxmlformats.org/drawingml/2006/table">
            <a:tbl>
              <a:tblPr>
                <a:solidFill>
                  <a:schemeClr val="tx1">
                    <a:lumMod val="75000"/>
                    <a:lumOff val="25000"/>
                  </a:schemeClr>
                </a:solidFill>
                <a:tableStyleId>{7E9639D4-E3E2-4D34-9284-5A2195B3D0D7}</a:tableStyleId>
              </a:tblPr>
              <a:tblGrid>
                <a:gridCol w="534670">
                  <a:extLst>
                    <a:ext uri="{9D8B030D-6E8A-4147-A177-3AD203B41FA5}">
                      <a16:colId xmlns:a16="http://schemas.microsoft.com/office/drawing/2014/main" val="1180126661"/>
                    </a:ext>
                  </a:extLst>
                </a:gridCol>
                <a:gridCol w="484229">
                  <a:extLst>
                    <a:ext uri="{9D8B030D-6E8A-4147-A177-3AD203B41FA5}">
                      <a16:colId xmlns:a16="http://schemas.microsoft.com/office/drawing/2014/main" val="3418182288"/>
                    </a:ext>
                  </a:extLst>
                </a:gridCol>
                <a:gridCol w="3018866">
                  <a:extLst>
                    <a:ext uri="{9D8B030D-6E8A-4147-A177-3AD203B41FA5}">
                      <a16:colId xmlns:a16="http://schemas.microsoft.com/office/drawing/2014/main" val="1071016875"/>
                    </a:ext>
                  </a:extLst>
                </a:gridCol>
                <a:gridCol w="1300524">
                  <a:extLst>
                    <a:ext uri="{9D8B030D-6E8A-4147-A177-3AD203B41FA5}">
                      <a16:colId xmlns:a16="http://schemas.microsoft.com/office/drawing/2014/main" val="1481185996"/>
                    </a:ext>
                  </a:extLst>
                </a:gridCol>
              </a:tblGrid>
              <a:tr h="297943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en-GB" sz="1000" u="sng" strike="noStrike" cap="none" spc="0" dirty="0">
                          <a:solidFill>
                            <a:schemeClr val="bg1"/>
                          </a:solidFill>
                          <a:effectLst/>
                        </a:rPr>
                        <a:t>UK Annual Investment Forum 2024</a:t>
                      </a:r>
                      <a:endParaRPr lang="en-GB" sz="1000" b="1" i="0" u="sng" strike="noStrike" cap="none" spc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ap="flat" cmpd="sng" algn="ctr">
                      <a:solidFill>
                        <a:schemeClr val="bg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en-GB" sz="1000" b="1" i="0" u="sng" strike="noStrike" cap="none" spc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2167155"/>
                  </a:ext>
                </a:extLst>
              </a:tr>
              <a:tr h="297943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 dirty="0">
                          <a:solidFill>
                            <a:schemeClr val="bg1"/>
                          </a:solidFill>
                          <a:effectLst/>
                        </a:rPr>
                        <a:t>Tuesday 30th January </a:t>
                      </a:r>
                      <a:endParaRPr lang="en-GB" sz="1000" b="1" i="0" u="none" strike="noStrike" cap="none" spc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ap="flat" cmpd="sng" algn="ctr">
                      <a:solidFill>
                        <a:schemeClr val="bg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en-GB" sz="1000" b="1" i="0" u="sng" strike="noStrike" cap="none" spc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0560210"/>
                  </a:ext>
                </a:extLst>
              </a:tr>
              <a:tr h="443281"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Start Time</a:t>
                      </a:r>
                      <a:endParaRPr lang="en-GB" sz="1000" b="1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ap="flat" cmpd="sng" algn="ctr">
                      <a:solidFill>
                        <a:schemeClr val="bg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End Time</a:t>
                      </a:r>
                      <a:endParaRPr lang="en-GB" sz="1000" b="1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 dirty="0">
                          <a:solidFill>
                            <a:schemeClr val="bg1"/>
                          </a:solidFill>
                          <a:effectLst/>
                        </a:rPr>
                        <a:t>Agenda</a:t>
                      </a:r>
                      <a:endParaRPr lang="en-GB" sz="1000" b="1" i="0" u="none" strike="noStrike" cap="none" spc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Location: The Londoner</a:t>
                      </a:r>
                      <a:endParaRPr lang="en-GB" sz="1000" b="1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469388"/>
                  </a:ext>
                </a:extLst>
              </a:tr>
              <a:tr h="297943"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2:00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ap="flat" cmpd="sng" algn="ctr">
                      <a:solidFill>
                        <a:schemeClr val="bg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3:00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Registration &amp; Lunch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Ballroom Foyer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31766"/>
                  </a:ext>
                </a:extLst>
              </a:tr>
              <a:tr h="297943"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3:00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ap="flat" cmpd="sng" algn="ctr">
                      <a:solidFill>
                        <a:schemeClr val="bg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3:05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 dirty="0">
                          <a:solidFill>
                            <a:schemeClr val="bg1"/>
                          </a:solidFill>
                          <a:effectLst/>
                        </a:rPr>
                        <a:t>Welcome: Alex Matcham </a:t>
                      </a:r>
                      <a:endParaRPr lang="en-GB" sz="10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Ballroom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0219796"/>
                  </a:ext>
                </a:extLst>
              </a:tr>
              <a:tr h="297943"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3:05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ap="flat" cmpd="sng" algn="ctr">
                      <a:solidFill>
                        <a:schemeClr val="bg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3:10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 dirty="0">
                          <a:solidFill>
                            <a:schemeClr val="bg1"/>
                          </a:solidFill>
                          <a:effectLst/>
                        </a:rPr>
                        <a:t>Introduction: Joseph Pinto</a:t>
                      </a:r>
                      <a:endParaRPr lang="en-GB" sz="10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Ballroom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9763186"/>
                  </a:ext>
                </a:extLst>
              </a:tr>
              <a:tr h="297943"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3:10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ap="flat" cmpd="sng" algn="ctr">
                      <a:solidFill>
                        <a:schemeClr val="bg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3:40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 dirty="0">
                          <a:solidFill>
                            <a:schemeClr val="bg1"/>
                          </a:solidFill>
                          <a:effectLst/>
                        </a:rPr>
                        <a:t>Main Platform</a:t>
                      </a:r>
                      <a:endParaRPr lang="en-GB" sz="10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Ballroom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0720351"/>
                  </a:ext>
                </a:extLst>
              </a:tr>
              <a:tr h="297943"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3:40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ap="flat" cmpd="sng" algn="ctr">
                      <a:solidFill>
                        <a:schemeClr val="bg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4:10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 dirty="0">
                          <a:solidFill>
                            <a:schemeClr val="bg1"/>
                          </a:solidFill>
                          <a:effectLst/>
                        </a:rPr>
                        <a:t>Main Platform</a:t>
                      </a:r>
                      <a:endParaRPr lang="en-GB" sz="10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Ballroom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4038335"/>
                  </a:ext>
                </a:extLst>
              </a:tr>
              <a:tr h="297943"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4:10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ap="flat" cmpd="sng" algn="ctr">
                      <a:solidFill>
                        <a:schemeClr val="bg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4:30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 dirty="0">
                          <a:solidFill>
                            <a:schemeClr val="bg1"/>
                          </a:solidFill>
                          <a:effectLst/>
                        </a:rPr>
                        <a:t>Changeover</a:t>
                      </a:r>
                      <a:endParaRPr lang="en-GB" sz="10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5104708"/>
                  </a:ext>
                </a:extLst>
              </a:tr>
              <a:tr h="297943"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4:30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ap="flat" cmpd="sng" algn="ctr">
                      <a:solidFill>
                        <a:schemeClr val="bg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5:15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 dirty="0">
                          <a:solidFill>
                            <a:schemeClr val="bg1"/>
                          </a:solidFill>
                          <a:effectLst/>
                        </a:rPr>
                        <a:t>Boardroom session 1</a:t>
                      </a:r>
                      <a:endParaRPr lang="en-GB" sz="10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The Gallery / Ballroom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3663482"/>
                  </a:ext>
                </a:extLst>
              </a:tr>
              <a:tr h="297943"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5:15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ap="flat" cmpd="sng" algn="ctr">
                      <a:solidFill>
                        <a:schemeClr val="bg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5:40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 dirty="0">
                          <a:solidFill>
                            <a:schemeClr val="bg1"/>
                          </a:solidFill>
                          <a:effectLst/>
                        </a:rPr>
                        <a:t>Break</a:t>
                      </a:r>
                      <a:endParaRPr lang="en-GB" sz="10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1633084"/>
                  </a:ext>
                </a:extLst>
              </a:tr>
              <a:tr h="297943"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5:40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ap="flat" cmpd="sng" algn="ctr">
                      <a:solidFill>
                        <a:schemeClr val="bg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6:25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Boardroom session 2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The Gallery / Ballroom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5392070"/>
                  </a:ext>
                </a:extLst>
              </a:tr>
              <a:tr h="297943"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6:25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ap="flat" cmpd="sng" algn="ctr">
                      <a:solidFill>
                        <a:schemeClr val="bg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6:35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 dirty="0">
                          <a:solidFill>
                            <a:schemeClr val="bg1"/>
                          </a:solidFill>
                          <a:effectLst/>
                        </a:rPr>
                        <a:t>Changeover</a:t>
                      </a:r>
                      <a:endParaRPr lang="en-GB" sz="10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5256222"/>
                  </a:ext>
                </a:extLst>
              </a:tr>
              <a:tr h="297943"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6:35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ap="flat" cmpd="sng" algn="ctr">
                      <a:solidFill>
                        <a:schemeClr val="bg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7:20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Boardroom session 3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 dirty="0">
                          <a:solidFill>
                            <a:schemeClr val="bg1"/>
                          </a:solidFill>
                          <a:effectLst/>
                        </a:rPr>
                        <a:t>The Gallery / Ballroom</a:t>
                      </a:r>
                      <a:endParaRPr lang="en-GB" sz="10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7650585"/>
                  </a:ext>
                </a:extLst>
              </a:tr>
              <a:tr h="297943"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7:20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ap="flat" cmpd="sng" algn="ctr">
                      <a:solidFill>
                        <a:schemeClr val="bg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8:30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Informal Discussions &amp; Networking Drinks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 dirty="0">
                          <a:solidFill>
                            <a:schemeClr val="bg1"/>
                          </a:solidFill>
                          <a:effectLst/>
                        </a:rPr>
                        <a:t>The Green Room</a:t>
                      </a:r>
                      <a:endParaRPr lang="en-GB" sz="10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1141679"/>
                  </a:ext>
                </a:extLst>
              </a:tr>
              <a:tr h="297943"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18:30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ap="flat" cmpd="sng" algn="ctr">
                      <a:solidFill>
                        <a:schemeClr val="bg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Event Close</a:t>
                      </a:r>
                      <a:endParaRPr lang="en-GB" sz="1000" b="0" i="0" u="none" strike="noStrike" cap="none" spc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cap="none" spc="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GB" sz="10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68" marR="7570" marT="14534" marB="109004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7946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97972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43F310-239D-862E-E99A-33CF35DAEE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5AB01-F165-584F-9D0C-FD8A47F7A7CB}" type="slidenum">
              <a:rPr lang="en-GB" noProof="0" smtClean="0"/>
              <a:t>5</a:t>
            </a:fld>
            <a:endParaRPr lang="en-GB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F2B137E-1226-7A58-48F7-06E077C7D05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127" r="2675"/>
          <a:stretch/>
        </p:blipFill>
        <p:spPr>
          <a:xfrm>
            <a:off x="8199586" y="589548"/>
            <a:ext cx="3897977" cy="587582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890B864-5BB7-09BA-1A5A-97D509AB01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505" y="589548"/>
            <a:ext cx="2472702" cy="145158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48260B3-4BE1-3940-4C5B-3BA47F8169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31141" y="580372"/>
            <a:ext cx="2331494" cy="14561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CD03ED2-92BC-EDC5-BD3D-2EAA49D784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88360" y="580372"/>
            <a:ext cx="2585501" cy="145158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FFFCF02-919B-1717-884E-801C4306D2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25552" y="2130769"/>
            <a:ext cx="4196488" cy="4334602"/>
          </a:xfrm>
          <a:prstGeom prst="rect">
            <a:avLst/>
          </a:prstGeom>
        </p:spPr>
      </p:pic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624F0C4E-C61E-803E-7365-981B37D901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8498988"/>
              </p:ext>
            </p:extLst>
          </p:nvPr>
        </p:nvGraphicFramePr>
        <p:xfrm>
          <a:off x="195372" y="2153121"/>
          <a:ext cx="3452634" cy="431225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3452634">
                  <a:extLst>
                    <a:ext uri="{9D8B030D-6E8A-4147-A177-3AD203B41FA5}">
                      <a16:colId xmlns:a16="http://schemas.microsoft.com/office/drawing/2014/main" val="1252168140"/>
                    </a:ext>
                  </a:extLst>
                </a:gridCol>
              </a:tblGrid>
              <a:tr h="340855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Overvie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8227756"/>
                  </a:ext>
                </a:extLst>
              </a:tr>
              <a:tr h="482879">
                <a:tc>
                  <a:txBody>
                    <a:bodyPr/>
                    <a:lstStyle/>
                    <a:p>
                      <a:r>
                        <a:rPr lang="en-US" sz="1400" dirty="0"/>
                        <a:t>New venue in West End of London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2279804"/>
                  </a:ext>
                </a:extLst>
              </a:tr>
              <a:tr h="68171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ough space to create internal lunch / working floors to mitigate being further from the off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0017908"/>
                  </a:ext>
                </a:extLst>
              </a:tr>
              <a:tr h="8805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</a:rPr>
                        <a:t>Internal logistics - Ballroom/breakout rooms all located near each other with stair’s access so no issue with lifts</a:t>
                      </a:r>
                      <a:endParaRPr lang="en-GB" sz="1400" kern="1200" dirty="0">
                        <a:solidFill>
                          <a:schemeClr val="tx1"/>
                        </a:solidFill>
                      </a:endParaRPr>
                    </a:p>
                    <a:p>
                      <a:endParaRPr lang="en-GB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8144364"/>
                  </a:ext>
                </a:extLst>
              </a:tr>
              <a:tr h="5873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Lifts access from ballroom/breakout rooms straight up to bedroom floors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4240990"/>
                  </a:ext>
                </a:extLst>
              </a:tr>
              <a:tr h="681711">
                <a:tc>
                  <a:txBody>
                    <a:bodyPr/>
                    <a:lstStyle/>
                    <a:p>
                      <a:r>
                        <a:rPr lang="en-US" sz="1400" kern="1200" dirty="0">
                          <a:solidFill>
                            <a:schemeClr val="tx1"/>
                          </a:solidFill>
                        </a:rPr>
                        <a:t>Separate event entrance to main hotel entrance with quick access to event space</a:t>
                      </a:r>
                      <a:endParaRPr lang="en-GB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277217"/>
                  </a:ext>
                </a:extLst>
              </a:tr>
              <a:tr h="482879">
                <a:tc>
                  <a:txBody>
                    <a:bodyPr/>
                    <a:lstStyle/>
                    <a:p>
                      <a:r>
                        <a:rPr lang="en-GB" sz="1400" dirty="0"/>
                        <a:t>Event all in one space – conference, dinner, bedroom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352753"/>
                  </a:ext>
                </a:extLst>
              </a:tr>
            </a:tbl>
          </a:graphicData>
        </a:graphic>
      </p:graphicFrame>
      <p:sp>
        <p:nvSpPr>
          <p:cNvPr id="14" name="Oval 13">
            <a:extLst>
              <a:ext uri="{FF2B5EF4-FFF2-40B4-BE49-F238E27FC236}">
                <a16:creationId xmlns:a16="http://schemas.microsoft.com/office/drawing/2014/main" id="{84365A05-0AB1-35EB-D938-9090E6E48991}"/>
              </a:ext>
            </a:extLst>
          </p:cNvPr>
          <p:cNvSpPr/>
          <p:nvPr/>
        </p:nvSpPr>
        <p:spPr>
          <a:xfrm>
            <a:off x="9477504" y="3564294"/>
            <a:ext cx="615820" cy="58471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itle 7">
            <a:extLst>
              <a:ext uri="{FF2B5EF4-FFF2-40B4-BE49-F238E27FC236}">
                <a16:creationId xmlns:a16="http://schemas.microsoft.com/office/drawing/2014/main" id="{898D9E1D-2C56-10BC-D58E-BB2401EAD5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505" y="76372"/>
            <a:ext cx="11471636" cy="504000"/>
          </a:xfrm>
        </p:spPr>
        <p:txBody>
          <a:bodyPr vert="horz"/>
          <a:lstStyle/>
          <a:p>
            <a:r>
              <a:rPr lang="en-GB" dirty="0"/>
              <a:t>Venue: The Londoner </a:t>
            </a:r>
          </a:p>
        </p:txBody>
      </p:sp>
    </p:spTree>
    <p:extLst>
      <p:ext uri="{BB962C8B-B14F-4D97-AF65-F5344CB8AC3E}">
        <p14:creationId xmlns:p14="http://schemas.microsoft.com/office/powerpoint/2010/main" val="27899692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C3A3FCC-9319-46AD-B4FE-83EE8D7467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C3A3FCC-9319-46AD-B4FE-83EE8D7467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22BE24F-9D4F-49C2-84C7-7E3435AD1F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Key mileston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85DE40-67C6-4E69-997C-2A84E2B6C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B5AB01-F165-584F-9D0C-FD8A47F7A7C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55A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55A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131E01F-76F8-40BD-93A2-0969D85C983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911F5165-49F1-546E-7B57-D25BE4CD67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0864113"/>
              </p:ext>
            </p:extLst>
          </p:nvPr>
        </p:nvGraphicFramePr>
        <p:xfrm>
          <a:off x="526661" y="56415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261D59F7-2BB3-41F5-A0E5-990573C372FC}"/>
              </a:ext>
            </a:extLst>
          </p:cNvPr>
          <p:cNvSpPr txBox="1"/>
          <p:nvPr/>
        </p:nvSpPr>
        <p:spPr>
          <a:xfrm>
            <a:off x="9400599" y="2829437"/>
            <a:ext cx="1013927" cy="1076131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GB" sz="1400" i="1" dirty="0"/>
              <a:t>Tuesday </a:t>
            </a:r>
          </a:p>
          <a:p>
            <a:pPr algn="ctr"/>
            <a:r>
              <a:rPr lang="en-GB" sz="1400" i="1" dirty="0"/>
              <a:t>30 Jan</a:t>
            </a:r>
          </a:p>
          <a:p>
            <a:pPr algn="ctr"/>
            <a:r>
              <a:rPr lang="en-GB" sz="1400" i="1" dirty="0"/>
              <a:t>UK AIF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FA1AE4A-516B-0C1B-BE8B-925BEF6C9B8E}"/>
              </a:ext>
            </a:extLst>
          </p:cNvPr>
          <p:cNvSpPr txBox="1"/>
          <p:nvPr/>
        </p:nvSpPr>
        <p:spPr>
          <a:xfrm>
            <a:off x="10817710" y="2829438"/>
            <a:ext cx="1013927" cy="1076131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GB" sz="1400" i="1" dirty="0"/>
              <a:t>Wednesday 31 Jan</a:t>
            </a:r>
          </a:p>
          <a:p>
            <a:pPr algn="ctr"/>
            <a:r>
              <a:rPr lang="en-GB" sz="1400" i="1" dirty="0"/>
              <a:t>Global AIF</a:t>
            </a:r>
          </a:p>
        </p:txBody>
      </p:sp>
    </p:spTree>
    <p:extLst>
      <p:ext uri="{BB962C8B-B14F-4D97-AF65-F5344CB8AC3E}">
        <p14:creationId xmlns:p14="http://schemas.microsoft.com/office/powerpoint/2010/main" val="2214425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&amp;G RE 2020 v1">
  <a:themeElements>
    <a:clrScheme name="M&amp;G INV 2020 v3.xml">
      <a:dk1>
        <a:srgbClr val="055A60"/>
      </a:dk1>
      <a:lt1>
        <a:srgbClr val="FFFFFF"/>
      </a:lt1>
      <a:dk2>
        <a:srgbClr val="7EBD5F"/>
      </a:dk2>
      <a:lt2>
        <a:srgbClr val="65B4E5"/>
      </a:lt2>
      <a:accent1>
        <a:srgbClr val="7EBD5F"/>
      </a:accent1>
      <a:accent2>
        <a:srgbClr val="65B4E5"/>
      </a:accent2>
      <a:accent3>
        <a:srgbClr val="7B76B6"/>
      </a:accent3>
      <a:accent4>
        <a:srgbClr val="E98276"/>
      </a:accent4>
      <a:accent5>
        <a:srgbClr val="FFB81C"/>
      </a:accent5>
      <a:accent6>
        <a:srgbClr val="17B0AD"/>
      </a:accent6>
      <a:hlink>
        <a:srgbClr val="E98276"/>
      </a:hlink>
      <a:folHlink>
        <a:srgbClr val="EB5C37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27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b" anchorCtr="0">
        <a:noAutofit/>
      </a:bodyPr>
      <a:lstStyle>
        <a:defPPr algn="l">
          <a:defRPr i="1" dirty="0"/>
        </a:defPPr>
      </a:lstStyle>
    </a:txDef>
  </a:objectDefaults>
  <a:extraClrSchemeLst/>
  <a:custClrLst>
    <a:custClr name="Light Green 100%">
      <a:srgbClr val="7EBD5F"/>
    </a:custClr>
    <a:custClr name="Don't tint at 80%">
      <a:srgbClr val="FFFFFF"/>
    </a:custClr>
    <a:custClr name="Don't tint at 60%">
      <a:srgbClr val="FFFFFF"/>
    </a:custClr>
    <a:custClr name="Don't tint at 40%">
      <a:srgbClr val="FFFFFF"/>
    </a:custClr>
    <a:custClr name="Dont' tint at 20%">
      <a:srgbClr val="FFFFFF"/>
    </a:custClr>
    <a:custClr name="Light Blue 100%">
      <a:srgbClr val="65B4E5"/>
    </a:custClr>
    <a:custClr name="Light Blue 80%">
      <a:srgbClr val="84C3EA"/>
    </a:custClr>
    <a:custClr name="Light Blue 60%">
      <a:srgbClr val="A3D2EF"/>
    </a:custClr>
    <a:custClr name="Light Blue 40%">
      <a:srgbClr val="C1E1F5"/>
    </a:custClr>
    <a:custClr name="Light Blue 20%">
      <a:srgbClr val="E0F0FA"/>
    </a:custClr>
    <a:custClr name="Violet 100%">
      <a:srgbClr val="7B76B6"/>
    </a:custClr>
    <a:custClr name="Violet 80%">
      <a:srgbClr val="9591C5"/>
    </a:custClr>
    <a:custClr name="Violet 60%">
      <a:srgbClr val="B0ADD3"/>
    </a:custClr>
    <a:custClr name="Violet 40%">
      <a:srgbClr val="CAC8E2"/>
    </a:custClr>
    <a:custClr name="Violet 20%">
      <a:srgbClr val="E5E4F0"/>
    </a:custClr>
    <a:custClr name="Light Coral 100%">
      <a:srgbClr val="E98276"/>
    </a:custClr>
    <a:custClr name="Light Coral 80%">
      <a:srgbClr val="EB9B91"/>
    </a:custClr>
    <a:custClr name="Light Coral 60%">
      <a:srgbClr val="F2B4AD"/>
    </a:custClr>
    <a:custClr name="Light Coral 40%">
      <a:srgbClr val="F6CDC8"/>
    </a:custClr>
    <a:custClr name="Light Coral 20%">
      <a:srgbClr val="FBE6E4"/>
    </a:custClr>
    <a:custClr name="Yellow 100%">
      <a:srgbClr val="FFB81C"/>
    </a:custClr>
    <a:custClr name="Yellow 80%">
      <a:srgbClr val="FFC649"/>
    </a:custClr>
    <a:custClr name="Yellow 60%">
      <a:srgbClr val="FFD477"/>
    </a:custClr>
    <a:custClr name="Yellow 40%">
      <a:srgbClr val="FFE3A4"/>
    </a:custClr>
    <a:custClr name="Yellow 20%">
      <a:srgbClr val="FFF1D2"/>
    </a:custClr>
    <a:custClr name="Jade 100%">
      <a:srgbClr val="17B0AD"/>
    </a:custClr>
    <a:custClr name="Jade 80%">
      <a:srgbClr val="45C0BD"/>
    </a:custClr>
    <a:custClr name="Jade 60%">
      <a:srgbClr val="74D0CE"/>
    </a:custClr>
    <a:custClr name="Jade 40%">
      <a:srgbClr val="A2DFDE"/>
    </a:custClr>
    <a:custClr name="Jade 20%">
      <a:srgbClr val="D1EFEF"/>
    </a:custClr>
    <a:custClr name="Grey 100%">
      <a:srgbClr val="5B656E"/>
    </a:custClr>
    <a:custClr name="Grey 80%">
      <a:srgbClr val="7C848B"/>
    </a:custClr>
    <a:custClr name="Grey 60%">
      <a:srgbClr val="9DA3A8"/>
    </a:custClr>
    <a:custClr name="Grey 40%">
      <a:srgbClr val="BDC1C5"/>
    </a:custClr>
    <a:custClr name="Grey 20%">
      <a:srgbClr val="DEE0E2"/>
    </a:custClr>
    <a:custClr name="Light Pink 100%">
      <a:srgbClr val="E58EBB"/>
    </a:custClr>
    <a:custClr name="Light Pink 80%">
      <a:srgbClr val="EAA5C9"/>
    </a:custClr>
    <a:custClr name="Light Pink 60%">
      <a:srgbClr val="EFBBD6"/>
    </a:custClr>
    <a:custClr name="Light Pink 40%">
      <a:srgbClr val="F5D2E4"/>
    </a:custClr>
    <a:custClr name="Light Pink 20%">
      <a:srgbClr val="FAE8F1"/>
    </a:custClr>
    <a:custClr name="Coral 100%">
      <a:srgbClr val="EB5C37"/>
    </a:custClr>
    <a:custClr name="Coral 80%">
      <a:srgbClr val="EF7D5F"/>
    </a:custClr>
    <a:custClr name="Coral 60%">
      <a:srgbClr val="F39D87"/>
    </a:custClr>
    <a:custClr name="Coral 40%">
      <a:srgbClr val="F7BEAF"/>
    </a:custClr>
    <a:custClr name="Coral 20%">
      <a:srgbClr val="FBDED7"/>
    </a:custClr>
    <a:custClr name="Petrol 100%">
      <a:srgbClr val="0097A9"/>
    </a:custClr>
    <a:custClr name="Petrol 80%">
      <a:srgbClr val="33ACBA"/>
    </a:custClr>
    <a:custClr name="Petrol 60%">
      <a:srgbClr val="66C1CB"/>
    </a:custClr>
    <a:custClr name="Petrol 40%">
      <a:srgbClr val="99D5DD"/>
    </a:custClr>
    <a:custClr name="Petrol 20%">
      <a:srgbClr val="CCEAEE"/>
    </a:custClr>
  </a:custClrLst>
  <a:extLst>
    <a:ext uri="{05A4C25C-085E-4340-85A3-A5531E510DB2}">
      <thm15:themeFamily xmlns:thm15="http://schemas.microsoft.com/office/thememl/2012/main" name="M&amp;G Investments Toolkit 2020_Guidelines_No_Content_v1.potx" id="{0BEDB362-B665-4EA6-B665-59747618D5C6}" vid="{B7E7F03E-97C7-4848-B3AA-4A404F0A0D2B}"/>
    </a:ext>
  </a:extLst>
</a:theme>
</file>

<file path=ppt/theme/theme2.xml><?xml version="1.0" encoding="utf-8"?>
<a:theme xmlns:a="http://schemas.openxmlformats.org/drawingml/2006/main" name="1_M&amp;G RE 2020 v1">
  <a:themeElements>
    <a:clrScheme name="M&amp;G INV 2020 v3.xml">
      <a:dk1>
        <a:srgbClr val="055A60"/>
      </a:dk1>
      <a:lt1>
        <a:srgbClr val="FFFFFF"/>
      </a:lt1>
      <a:dk2>
        <a:srgbClr val="7EBD5F"/>
      </a:dk2>
      <a:lt2>
        <a:srgbClr val="65B4E5"/>
      </a:lt2>
      <a:accent1>
        <a:srgbClr val="7EBD5F"/>
      </a:accent1>
      <a:accent2>
        <a:srgbClr val="65B4E5"/>
      </a:accent2>
      <a:accent3>
        <a:srgbClr val="7B76B6"/>
      </a:accent3>
      <a:accent4>
        <a:srgbClr val="E98276"/>
      </a:accent4>
      <a:accent5>
        <a:srgbClr val="FFB81C"/>
      </a:accent5>
      <a:accent6>
        <a:srgbClr val="17B0AD"/>
      </a:accent6>
      <a:hlink>
        <a:srgbClr val="E98276"/>
      </a:hlink>
      <a:folHlink>
        <a:srgbClr val="EB5C37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27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b" anchorCtr="0">
        <a:noAutofit/>
      </a:bodyPr>
      <a:lstStyle>
        <a:defPPr algn="l">
          <a:defRPr i="1" dirty="0"/>
        </a:defPPr>
      </a:lstStyle>
    </a:txDef>
  </a:objectDefaults>
  <a:extraClrSchemeLst/>
  <a:custClrLst>
    <a:custClr name="Light Green 100%">
      <a:srgbClr val="7EBD5F"/>
    </a:custClr>
    <a:custClr name="Don't tint at 80%">
      <a:srgbClr val="FFFFFF"/>
    </a:custClr>
    <a:custClr name="Don't tint at 60%">
      <a:srgbClr val="FFFFFF"/>
    </a:custClr>
    <a:custClr name="Don't tint at 40%">
      <a:srgbClr val="FFFFFF"/>
    </a:custClr>
    <a:custClr name="Dont' tint at 20%">
      <a:srgbClr val="FFFFFF"/>
    </a:custClr>
    <a:custClr name="Light Blue 100%">
      <a:srgbClr val="65B4E5"/>
    </a:custClr>
    <a:custClr name="Light Blue 80%">
      <a:srgbClr val="84C3EA"/>
    </a:custClr>
    <a:custClr name="Light Blue 60%">
      <a:srgbClr val="A3D2EF"/>
    </a:custClr>
    <a:custClr name="Light Blue 40%">
      <a:srgbClr val="C1E1F5"/>
    </a:custClr>
    <a:custClr name="Light Blue 20%">
      <a:srgbClr val="E0F0FA"/>
    </a:custClr>
    <a:custClr name="Violet 100%">
      <a:srgbClr val="7B76B6"/>
    </a:custClr>
    <a:custClr name="Violet 80%">
      <a:srgbClr val="9591C5"/>
    </a:custClr>
    <a:custClr name="Violet 60%">
      <a:srgbClr val="B0ADD3"/>
    </a:custClr>
    <a:custClr name="Violet 40%">
      <a:srgbClr val="CAC8E2"/>
    </a:custClr>
    <a:custClr name="Violet 20%">
      <a:srgbClr val="E5E4F0"/>
    </a:custClr>
    <a:custClr name="Light Coral 100%">
      <a:srgbClr val="E98276"/>
    </a:custClr>
    <a:custClr name="Light Coral 80%">
      <a:srgbClr val="EB9B91"/>
    </a:custClr>
    <a:custClr name="Light Coral 60%">
      <a:srgbClr val="F2B4AD"/>
    </a:custClr>
    <a:custClr name="Light Coral 40%">
      <a:srgbClr val="F6CDC8"/>
    </a:custClr>
    <a:custClr name="Light Coral 20%">
      <a:srgbClr val="FBE6E4"/>
    </a:custClr>
    <a:custClr name="Yellow 100%">
      <a:srgbClr val="FFB81C"/>
    </a:custClr>
    <a:custClr name="Yellow 80%">
      <a:srgbClr val="FFC649"/>
    </a:custClr>
    <a:custClr name="Yellow 60%">
      <a:srgbClr val="FFD477"/>
    </a:custClr>
    <a:custClr name="Yellow 40%">
      <a:srgbClr val="FFE3A4"/>
    </a:custClr>
    <a:custClr name="Yellow 20%">
      <a:srgbClr val="FFF1D2"/>
    </a:custClr>
    <a:custClr name="Jade 100%">
      <a:srgbClr val="17B0AD"/>
    </a:custClr>
    <a:custClr name="Jade 80%">
      <a:srgbClr val="45C0BD"/>
    </a:custClr>
    <a:custClr name="Jade 60%">
      <a:srgbClr val="74D0CE"/>
    </a:custClr>
    <a:custClr name="Jade 40%">
      <a:srgbClr val="A2DFDE"/>
    </a:custClr>
    <a:custClr name="Jade 20%">
      <a:srgbClr val="D1EFEF"/>
    </a:custClr>
    <a:custClr name="Grey 100%">
      <a:srgbClr val="5B656E"/>
    </a:custClr>
    <a:custClr name="Grey 80%">
      <a:srgbClr val="7C848B"/>
    </a:custClr>
    <a:custClr name="Grey 60%">
      <a:srgbClr val="9DA3A8"/>
    </a:custClr>
    <a:custClr name="Grey 40%">
      <a:srgbClr val="BDC1C5"/>
    </a:custClr>
    <a:custClr name="Grey 20%">
      <a:srgbClr val="DEE0E2"/>
    </a:custClr>
    <a:custClr name="Light Pink 100%">
      <a:srgbClr val="E58EBB"/>
    </a:custClr>
    <a:custClr name="Light Pink 80%">
      <a:srgbClr val="EAA5C9"/>
    </a:custClr>
    <a:custClr name="Light Pink 60%">
      <a:srgbClr val="EFBBD6"/>
    </a:custClr>
    <a:custClr name="Light Pink 40%">
      <a:srgbClr val="F5D2E4"/>
    </a:custClr>
    <a:custClr name="Light Pink 20%">
      <a:srgbClr val="FAE8F1"/>
    </a:custClr>
    <a:custClr name="Coral 100%">
      <a:srgbClr val="EB5C37"/>
    </a:custClr>
    <a:custClr name="Coral 80%">
      <a:srgbClr val="EF7D5F"/>
    </a:custClr>
    <a:custClr name="Coral 60%">
      <a:srgbClr val="F39D87"/>
    </a:custClr>
    <a:custClr name="Coral 40%">
      <a:srgbClr val="F7BEAF"/>
    </a:custClr>
    <a:custClr name="Coral 20%">
      <a:srgbClr val="FBDED7"/>
    </a:custClr>
    <a:custClr name="Petrol 100%">
      <a:srgbClr val="0097A9"/>
    </a:custClr>
    <a:custClr name="Petrol 80%">
      <a:srgbClr val="33ACBA"/>
    </a:custClr>
    <a:custClr name="Petrol 60%">
      <a:srgbClr val="66C1CB"/>
    </a:custClr>
    <a:custClr name="Petrol 40%">
      <a:srgbClr val="99D5DD"/>
    </a:custClr>
    <a:custClr name="Petrol 20%">
      <a:srgbClr val="CCEAEE"/>
    </a:custClr>
  </a:custClrLst>
  <a:extLst>
    <a:ext uri="{05A4C25C-085E-4340-85A3-A5531E510DB2}">
      <thm15:themeFamily xmlns:thm15="http://schemas.microsoft.com/office/thememl/2012/main" name="M&amp;G Investments Toolkit 2020_Guidelines_No_Content_v1.potx" id="{0BEDB362-B665-4EA6-B665-59747618D5C6}" vid="{B7E7F03E-97C7-4848-B3AA-4A404F0A0D2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BBDBF317BDAD342B4DE8EE7C46DC6B4" ma:contentTypeVersion="4" ma:contentTypeDescription="Create a new document." ma:contentTypeScope="" ma:versionID="02448536176de9d0c8cd262fa79bedd9">
  <xsd:schema xmlns:xsd="http://www.w3.org/2001/XMLSchema" xmlns:xs="http://www.w3.org/2001/XMLSchema" xmlns:p="http://schemas.microsoft.com/office/2006/metadata/properties" xmlns:ns2="35abbd3b-82c0-408d-812c-f80f7746893f" xmlns:ns3="78e2c228-88d4-470d-8979-39812c725bf8" targetNamespace="http://schemas.microsoft.com/office/2006/metadata/properties" ma:root="true" ma:fieldsID="e529b04a8afde6be0c8941d3963ce035" ns2:_="" ns3:_="">
    <xsd:import namespace="35abbd3b-82c0-408d-812c-f80f7746893f"/>
    <xsd:import namespace="78e2c228-88d4-470d-8979-39812c725bf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abbd3b-82c0-408d-812c-f80f774689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e2c228-88d4-470d-8979-39812c725bf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8e2c228-88d4-470d-8979-39812c725bf8">
      <UserInfo>
        <DisplayName>Mishra, Pooja</DisplayName>
        <AccountId>11192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9868E71-1C02-4CEA-A200-F3175F34A2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5abbd3b-82c0-408d-812c-f80f7746893f"/>
    <ds:schemaRef ds:uri="78e2c228-88d4-470d-8979-39812c725bf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11CD922-7ECE-4257-9DBD-837D649CD08F}">
  <ds:schemaRefs>
    <ds:schemaRef ds:uri="http://schemas.microsoft.com/office/2006/metadata/properties"/>
    <ds:schemaRef ds:uri="http://schemas.microsoft.com/office/infopath/2007/PartnerControls"/>
    <ds:schemaRef ds:uri="78e2c228-88d4-470d-8979-39812c725bf8"/>
  </ds:schemaRefs>
</ds:datastoreItem>
</file>

<file path=customXml/itemProps3.xml><?xml version="1.0" encoding="utf-8"?>
<ds:datastoreItem xmlns:ds="http://schemas.openxmlformats.org/officeDocument/2006/customXml" ds:itemID="{0923719B-C8BE-48E3-ACB7-7987132810C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&amp;GINV Template 16x9 11-20</Template>
  <TotalTime>4442</TotalTime>
  <Words>653</Words>
  <Application>Microsoft Macintosh PowerPoint</Application>
  <PresentationFormat>Widescreen</PresentationFormat>
  <Paragraphs>211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M&amp;G RE 2020 v1</vt:lpstr>
      <vt:lpstr>1_M&amp;G RE 2020 v1</vt:lpstr>
      <vt:lpstr>think-cell Slide</vt:lpstr>
      <vt:lpstr>M&amp;G Annual Investment Forum</vt:lpstr>
      <vt:lpstr>Annual Investment Forum 2024</vt:lpstr>
      <vt:lpstr>Date and Format</vt:lpstr>
      <vt:lpstr>Timings</vt:lpstr>
      <vt:lpstr>Venue: The Londoner </vt:lpstr>
      <vt:lpstr>Key mileston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&amp;G Annual Investment Forum</dc:title>
  <dc:creator>Mastroianni, Alice</dc:creator>
  <cp:lastModifiedBy>Sophie O’Keeffe</cp:lastModifiedBy>
  <cp:revision>30</cp:revision>
  <cp:lastPrinted>2019-11-12T12:54:15Z</cp:lastPrinted>
  <dcterms:created xsi:type="dcterms:W3CDTF">2023-05-18T13:22:53Z</dcterms:created>
  <dcterms:modified xsi:type="dcterms:W3CDTF">2023-09-19T21:22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BBDBF317BDAD342B4DE8EE7C46DC6B4</vt:lpwstr>
  </property>
  <property fmtid="{D5CDD505-2E9C-101B-9397-08002B2CF9AE}" pid="3" name="MSIP_Label_145b9cce-5262-4471-b691-53ccdbfa697d_Enabled">
    <vt:lpwstr>true</vt:lpwstr>
  </property>
  <property fmtid="{D5CDD505-2E9C-101B-9397-08002B2CF9AE}" pid="4" name="MSIP_Label_145b9cce-5262-4471-b691-53ccdbfa697d_SetDate">
    <vt:lpwstr>2023-05-18T13:52:20Z</vt:lpwstr>
  </property>
  <property fmtid="{D5CDD505-2E9C-101B-9397-08002B2CF9AE}" pid="5" name="MSIP_Label_145b9cce-5262-4471-b691-53ccdbfa697d_Method">
    <vt:lpwstr>Privileged</vt:lpwstr>
  </property>
  <property fmtid="{D5CDD505-2E9C-101B-9397-08002B2CF9AE}" pid="6" name="MSIP_Label_145b9cce-5262-4471-b691-53ccdbfa697d_Name">
    <vt:lpwstr>Not Sensitive</vt:lpwstr>
  </property>
  <property fmtid="{D5CDD505-2E9C-101B-9397-08002B2CF9AE}" pid="7" name="MSIP_Label_145b9cce-5262-4471-b691-53ccdbfa697d_SiteId">
    <vt:lpwstr>aa42167d-6f8d-45ce-b655-d245ef97da66</vt:lpwstr>
  </property>
  <property fmtid="{D5CDD505-2E9C-101B-9397-08002B2CF9AE}" pid="8" name="MSIP_Label_145b9cce-5262-4471-b691-53ccdbfa697d_ActionId">
    <vt:lpwstr>baab1c1f-4749-4af6-a1e4-f5a8ecf8385f</vt:lpwstr>
  </property>
  <property fmtid="{D5CDD505-2E9C-101B-9397-08002B2CF9AE}" pid="9" name="MSIP_Label_145b9cce-5262-4471-b691-53ccdbfa697d_ContentBits">
    <vt:lpwstr>0</vt:lpwstr>
  </property>
  <property fmtid="{D5CDD505-2E9C-101B-9397-08002B2CF9AE}" pid="10" name="MSIP_Label_060999d5-d15e-4640-9f2d-65be94fe5ea8_Enabled">
    <vt:lpwstr>true</vt:lpwstr>
  </property>
  <property fmtid="{D5CDD505-2E9C-101B-9397-08002B2CF9AE}" pid="11" name="MSIP_Label_060999d5-d15e-4640-9f2d-65be94fe5ea8_SetDate">
    <vt:lpwstr>2023-09-19T21:22:17Z</vt:lpwstr>
  </property>
  <property fmtid="{D5CDD505-2E9C-101B-9397-08002B2CF9AE}" pid="12" name="MSIP_Label_060999d5-d15e-4640-9f2d-65be94fe5ea8_Method">
    <vt:lpwstr>Standard</vt:lpwstr>
  </property>
  <property fmtid="{D5CDD505-2E9C-101B-9397-08002B2CF9AE}" pid="13" name="MSIP_Label_060999d5-d15e-4640-9f2d-65be94fe5ea8_Name">
    <vt:lpwstr>Private</vt:lpwstr>
  </property>
  <property fmtid="{D5CDD505-2E9C-101B-9397-08002B2CF9AE}" pid="14" name="MSIP_Label_060999d5-d15e-4640-9f2d-65be94fe5ea8_SiteId">
    <vt:lpwstr>d6d05ee3-29d1-4d84-b494-85d04548c0ca</vt:lpwstr>
  </property>
  <property fmtid="{D5CDD505-2E9C-101B-9397-08002B2CF9AE}" pid="15" name="MSIP_Label_060999d5-d15e-4640-9f2d-65be94fe5ea8_ActionId">
    <vt:lpwstr>ef79d9bb-444f-4b05-a7ec-b95e95fd0a54</vt:lpwstr>
  </property>
  <property fmtid="{D5CDD505-2E9C-101B-9397-08002B2CF9AE}" pid="16" name="MSIP_Label_060999d5-d15e-4640-9f2d-65be94fe5ea8_ContentBits">
    <vt:lpwstr>0</vt:lpwstr>
  </property>
</Properties>
</file>